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03" r:id="rId1"/>
  </p:sldMasterIdLst>
  <p:notesMasterIdLst>
    <p:notesMasterId r:id="rId8"/>
  </p:notesMasterIdLst>
  <p:handoutMasterIdLst>
    <p:handoutMasterId r:id="rId9"/>
  </p:handoutMasterIdLst>
  <p:sldIdLst>
    <p:sldId id="293" r:id="rId2"/>
    <p:sldId id="307" r:id="rId3"/>
    <p:sldId id="308" r:id="rId4"/>
    <p:sldId id="309" r:id="rId5"/>
    <p:sldId id="310" r:id="rId6"/>
    <p:sldId id="311" r:id="rId7"/>
  </p:sldIdLst>
  <p:sldSz cx="12192000" cy="6858000"/>
  <p:notesSz cx="7102475" cy="10233025"/>
  <p:custDataLst>
    <p:tags r:id="rId10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Schmalzing" initials="DS" lastIdx="1" clrIdx="0">
    <p:extLst>
      <p:ext uri="{19B8F6BF-5375-455C-9EA6-DF929625EA0E}">
        <p15:presenceInfo xmlns:p15="http://schemas.microsoft.com/office/powerpoint/2012/main" userId="David Schmalzi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F"/>
    <a:srgbClr val="FFFFFF"/>
    <a:srgbClr val="071ECC"/>
    <a:srgbClr val="1E07CC"/>
    <a:srgbClr val="FF0000"/>
    <a:srgbClr val="FF00FF"/>
    <a:srgbClr val="CC00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4BEC4F-E3FD-A447-A4E0-D73942548911}" v="1" dt="2019-04-01T12:40:37.7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7" autoAdjust="0"/>
    <p:restoredTop sz="89081" autoAdjust="0"/>
  </p:normalViewPr>
  <p:slideViewPr>
    <p:cSldViewPr snapToGrid="0">
      <p:cViewPr varScale="1">
        <p:scale>
          <a:sx n="92" d="100"/>
          <a:sy n="92" d="100"/>
        </p:scale>
        <p:origin x="102" y="2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316"/>
    </p:cViewPr>
  </p:sorterViewPr>
  <p:notesViewPr>
    <p:cSldViewPr snapToGrid="0">
      <p:cViewPr varScale="1">
        <p:scale>
          <a:sx n="92" d="100"/>
          <a:sy n="92" d="100"/>
        </p:scale>
        <p:origin x="280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örg Christian Kirchhof" userId="ee804fd8-b348-4f17-843b-2dd3c3daa85b" providerId="ADAL" clId="{6C4BEC4F-E3FD-A447-A4E0-D73942548911}"/>
    <pc:docChg chg="custSel modMainMaster">
      <pc:chgData name="Jörg Christian Kirchhof" userId="ee804fd8-b348-4f17-843b-2dd3c3daa85b" providerId="ADAL" clId="{6C4BEC4F-E3FD-A447-A4E0-D73942548911}" dt="2019-04-01T12:40:37.781" v="1"/>
      <pc:docMkLst>
        <pc:docMk/>
      </pc:docMkLst>
      <pc:sldMasterChg chg="modSldLayout">
        <pc:chgData name="Jörg Christian Kirchhof" userId="ee804fd8-b348-4f17-843b-2dd3c3daa85b" providerId="ADAL" clId="{6C4BEC4F-E3FD-A447-A4E0-D73942548911}" dt="2019-04-01T12:40:37.781" v="1"/>
        <pc:sldMasterMkLst>
          <pc:docMk/>
          <pc:sldMasterMk cId="728331341" sldId="2147483903"/>
        </pc:sldMasterMkLst>
        <pc:sldLayoutChg chg="addSp delSp">
          <pc:chgData name="Jörg Christian Kirchhof" userId="ee804fd8-b348-4f17-843b-2dd3c3daa85b" providerId="ADAL" clId="{6C4BEC4F-E3FD-A447-A4E0-D73942548911}" dt="2019-04-01T12:40:37.781" v="1"/>
          <pc:sldLayoutMkLst>
            <pc:docMk/>
            <pc:sldMasterMk cId="728331341" sldId="2147483903"/>
            <pc:sldLayoutMk cId="4265886966" sldId="2147483904"/>
          </pc:sldLayoutMkLst>
          <pc:picChg chg="del">
            <ac:chgData name="Jörg Christian Kirchhof" userId="ee804fd8-b348-4f17-843b-2dd3c3daa85b" providerId="ADAL" clId="{6C4BEC4F-E3FD-A447-A4E0-D73942548911}" dt="2019-04-01T12:40:37.220" v="0" actId="478"/>
            <ac:picMkLst>
              <pc:docMk/>
              <pc:sldMasterMk cId="728331341" sldId="2147483903"/>
              <pc:sldLayoutMk cId="4265886966" sldId="2147483904"/>
              <ac:picMk id="4" creationId="{00000000-0000-0000-0000-000000000000}"/>
            </ac:picMkLst>
          </pc:picChg>
          <pc:picChg chg="add">
            <ac:chgData name="Jörg Christian Kirchhof" userId="ee804fd8-b348-4f17-843b-2dd3c3daa85b" providerId="ADAL" clId="{6C4BEC4F-E3FD-A447-A4E0-D73942548911}" dt="2019-04-01T12:40:37.781" v="1"/>
            <ac:picMkLst>
              <pc:docMk/>
              <pc:sldMasterMk cId="728331341" sldId="2147483903"/>
              <pc:sldLayoutMk cId="4265886966" sldId="2147483904"/>
              <ac:picMk id="36" creationId="{B3B93E4D-374B-FF43-9676-DA755D47565F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2937" y="1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88BCBB3B-932A-4D6C-900D-9F4B28686221}" type="datetimeFigureOut">
              <a:rPr lang="de-DE" altLang="de-DE"/>
              <a:pPr>
                <a:defRPr/>
              </a:pPr>
              <a:t>30.10.2020</a:t>
            </a:fld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0342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2937" y="9720342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935FA329-B071-4BC1-BBB5-3B07BBB55D93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2937" y="1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B02CD211-E599-4F87-85BA-4D602CEE05A3}" type="datetimeFigureOut">
              <a:rPr lang="de-DE" altLang="de-DE"/>
              <a:pPr>
                <a:defRPr/>
              </a:pPr>
              <a:t>30.10.2020</a:t>
            </a:fld>
            <a:endParaRPr lang="de-DE" alt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925249"/>
            <a:ext cx="5682615" cy="40284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342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2937" y="9720342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1BC8D279-B8BC-4FA6-86F2-E41329D88EBB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8F71EE3-D70A-4C02-A968-4B934D1A0EFF}"/>
              </a:ext>
            </a:extLst>
          </p:cNvPr>
          <p:cNvGrpSpPr/>
          <p:nvPr/>
        </p:nvGrpSpPr>
        <p:grpSpPr>
          <a:xfrm>
            <a:off x="107622" y="2351366"/>
            <a:ext cx="11972884" cy="50805"/>
            <a:chOff x="107622" y="6209964"/>
            <a:chExt cx="11972884" cy="50805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C845E14-D05D-4847-8D0F-48B225F97F2B}"/>
                </a:ext>
              </a:extLst>
            </p:cNvPr>
            <p:cNvGrpSpPr/>
            <p:nvPr/>
          </p:nvGrpSpPr>
          <p:grpSpPr>
            <a:xfrm>
              <a:off x="107622" y="6209964"/>
              <a:ext cx="11533593" cy="50805"/>
              <a:chOff x="348640" y="815854"/>
              <a:chExt cx="11533593" cy="50805"/>
            </a:xfrm>
          </p:grpSpPr>
          <p:cxnSp>
            <p:nvCxnSpPr>
              <p:cNvPr id="22" name="Gerader Verbinder 21">
                <a:extLst>
                  <a:ext uri="{FF2B5EF4-FFF2-40B4-BE49-F238E27FC236}">
                    <a16:creationId xmlns:a16="http://schemas.microsoft.com/office/drawing/2014/main" id="{DEAA3F24-7ABD-43F2-AA45-BF5173CF32C5}"/>
                  </a:ext>
                </a:extLst>
              </p:cNvPr>
              <p:cNvCxnSpPr/>
              <p:nvPr/>
            </p:nvCxnSpPr>
            <p:spPr>
              <a:xfrm>
                <a:off x="348640" y="815854"/>
                <a:ext cx="114839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6AFAD796-294C-4678-84E4-36609DA3DE96}"/>
                  </a:ext>
                </a:extLst>
              </p:cNvPr>
              <p:cNvCxnSpPr/>
              <p:nvPr/>
            </p:nvCxnSpPr>
            <p:spPr>
              <a:xfrm>
                <a:off x="398258" y="866659"/>
                <a:ext cx="114839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C515608-7894-4009-BE21-62D65B382976}"/>
                </a:ext>
              </a:extLst>
            </p:cNvPr>
            <p:cNvGrpSpPr/>
            <p:nvPr/>
          </p:nvGrpSpPr>
          <p:grpSpPr>
            <a:xfrm>
              <a:off x="11552113" y="6209964"/>
              <a:ext cx="528393" cy="50805"/>
              <a:chOff x="422890" y="1711364"/>
              <a:chExt cx="528393" cy="50805"/>
            </a:xfrm>
          </p:grpSpPr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0334CBD9-C046-4B8D-8306-1B31D1E6CD28}"/>
                  </a:ext>
                </a:extLst>
              </p:cNvPr>
              <p:cNvCxnSpPr/>
              <p:nvPr/>
            </p:nvCxnSpPr>
            <p:spPr>
              <a:xfrm>
                <a:off x="422890" y="1711364"/>
                <a:ext cx="4787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r Verbinder 20">
                <a:extLst>
                  <a:ext uri="{FF2B5EF4-FFF2-40B4-BE49-F238E27FC236}">
                    <a16:creationId xmlns:a16="http://schemas.microsoft.com/office/drawing/2014/main" id="{10AEC939-0940-4439-A734-7AAF6763DFF8}"/>
                  </a:ext>
                </a:extLst>
              </p:cNvPr>
              <p:cNvCxnSpPr/>
              <p:nvPr/>
            </p:nvCxnSpPr>
            <p:spPr>
              <a:xfrm>
                <a:off x="472508" y="1762169"/>
                <a:ext cx="4787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42CAEF3-4F48-4FEC-9E09-79D3F41BC518}"/>
              </a:ext>
            </a:extLst>
          </p:cNvPr>
          <p:cNvGrpSpPr/>
          <p:nvPr/>
        </p:nvGrpSpPr>
        <p:grpSpPr>
          <a:xfrm>
            <a:off x="643376" y="2351364"/>
            <a:ext cx="50806" cy="4388819"/>
            <a:chOff x="643376" y="2351365"/>
            <a:chExt cx="50806" cy="3909404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15E654C8-5ED2-482F-82FE-D8B7AB672D1B}"/>
                </a:ext>
              </a:extLst>
            </p:cNvPr>
            <p:cNvCxnSpPr/>
            <p:nvPr/>
          </p:nvCxnSpPr>
          <p:spPr>
            <a:xfrm flipH="1">
              <a:off x="643376" y="2351365"/>
              <a:ext cx="1" cy="3858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85CBF0CD-26F9-4ACF-A893-9837FC6A792A}"/>
                </a:ext>
              </a:extLst>
            </p:cNvPr>
            <p:cNvCxnSpPr/>
            <p:nvPr/>
          </p:nvCxnSpPr>
          <p:spPr>
            <a:xfrm flipH="1">
              <a:off x="694181" y="2400983"/>
              <a:ext cx="1" cy="385978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3B422C15-1DE6-4DF9-8E96-5CA163219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2434" y="2584876"/>
            <a:ext cx="10886925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983979DD-F31A-4483-BB1A-22D5710FA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2434" y="3078076"/>
            <a:ext cx="10886925" cy="926892"/>
          </a:xfrm>
          <a:prstGeom prst="rect">
            <a:avLst/>
          </a:prstGeom>
        </p:spPr>
        <p:txBody>
          <a:bodyPr lIns="0" tIns="0" rIns="0" bIns="0"/>
          <a:lstStyle>
            <a:lvl1pPr marL="0" indent="0" algn="l" eaLnBrk="1" hangingPunct="1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eaLnBrk="1" hangingPunct="1"/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EE02E37-16C7-4AED-B03D-D2D32DD5AE21}"/>
              </a:ext>
            </a:extLst>
          </p:cNvPr>
          <p:cNvGrpSpPr/>
          <p:nvPr userDrawn="1"/>
        </p:nvGrpSpPr>
        <p:grpSpPr>
          <a:xfrm>
            <a:off x="107622" y="2351366"/>
            <a:ext cx="11972884" cy="50805"/>
            <a:chOff x="107622" y="6209964"/>
            <a:chExt cx="11972884" cy="50805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757562EE-1B2D-44E7-A590-9E9EDBC85B94}"/>
                </a:ext>
              </a:extLst>
            </p:cNvPr>
            <p:cNvGrpSpPr/>
            <p:nvPr userDrawn="1"/>
          </p:nvGrpSpPr>
          <p:grpSpPr>
            <a:xfrm>
              <a:off x="107622" y="6209964"/>
              <a:ext cx="11533593" cy="50805"/>
              <a:chOff x="348640" y="815854"/>
              <a:chExt cx="11533593" cy="50805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5705C926-C661-4870-90F5-B8FE6824FA3E}"/>
                  </a:ext>
                </a:extLst>
              </p:cNvPr>
              <p:cNvCxnSpPr/>
              <p:nvPr userDrawn="1"/>
            </p:nvCxnSpPr>
            <p:spPr>
              <a:xfrm>
                <a:off x="348640" y="815854"/>
                <a:ext cx="114839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61340FDD-0028-43F6-9B43-780A9256EA84}"/>
                  </a:ext>
                </a:extLst>
              </p:cNvPr>
              <p:cNvCxnSpPr/>
              <p:nvPr userDrawn="1"/>
            </p:nvCxnSpPr>
            <p:spPr>
              <a:xfrm>
                <a:off x="398258" y="866659"/>
                <a:ext cx="114839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7471FCE-9EBC-4563-B643-791B6D9CF2C5}"/>
                </a:ext>
              </a:extLst>
            </p:cNvPr>
            <p:cNvGrpSpPr/>
            <p:nvPr userDrawn="1"/>
          </p:nvGrpSpPr>
          <p:grpSpPr>
            <a:xfrm>
              <a:off x="11552113" y="6209964"/>
              <a:ext cx="528393" cy="50805"/>
              <a:chOff x="422890" y="1711364"/>
              <a:chExt cx="528393" cy="50805"/>
            </a:xfrm>
          </p:grpSpPr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DEBBEDD9-913B-43A7-92D2-70200277794A}"/>
                  </a:ext>
                </a:extLst>
              </p:cNvPr>
              <p:cNvCxnSpPr/>
              <p:nvPr userDrawn="1"/>
            </p:nvCxnSpPr>
            <p:spPr>
              <a:xfrm>
                <a:off x="422890" y="1711364"/>
                <a:ext cx="4787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F7EBB47A-B507-4D7F-9E88-09CE2A7386CD}"/>
                  </a:ext>
                </a:extLst>
              </p:cNvPr>
              <p:cNvCxnSpPr/>
              <p:nvPr userDrawn="1"/>
            </p:nvCxnSpPr>
            <p:spPr>
              <a:xfrm>
                <a:off x="472508" y="1762169"/>
                <a:ext cx="4787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B17A0267-74CA-449E-AFFC-93B6796DAFC7}"/>
              </a:ext>
            </a:extLst>
          </p:cNvPr>
          <p:cNvGrpSpPr/>
          <p:nvPr userDrawn="1"/>
        </p:nvGrpSpPr>
        <p:grpSpPr>
          <a:xfrm>
            <a:off x="643376" y="2351364"/>
            <a:ext cx="50806" cy="4388819"/>
            <a:chOff x="643376" y="2351365"/>
            <a:chExt cx="50806" cy="3909404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298FA662-EA6F-40FE-BBAD-CBDF6AB6DBCB}"/>
                </a:ext>
              </a:extLst>
            </p:cNvPr>
            <p:cNvCxnSpPr/>
            <p:nvPr userDrawn="1"/>
          </p:nvCxnSpPr>
          <p:spPr>
            <a:xfrm flipH="1">
              <a:off x="643376" y="2351365"/>
              <a:ext cx="1" cy="3858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A789B2B-F6CE-4245-989C-4A30EA0B1352}"/>
                </a:ext>
              </a:extLst>
            </p:cNvPr>
            <p:cNvCxnSpPr/>
            <p:nvPr userDrawn="1"/>
          </p:nvCxnSpPr>
          <p:spPr>
            <a:xfrm flipH="1">
              <a:off x="694181" y="2400983"/>
              <a:ext cx="1" cy="385978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6"/>
          <p:cNvGrpSpPr/>
          <p:nvPr userDrawn="1"/>
        </p:nvGrpSpPr>
        <p:grpSpPr>
          <a:xfrm>
            <a:off x="-8389" y="-8254"/>
            <a:ext cx="12204835" cy="2346530"/>
            <a:chOff x="-12835" y="1030557"/>
            <a:chExt cx="12204835" cy="2346530"/>
          </a:xfrm>
        </p:grpSpPr>
        <p:sp>
          <p:nvSpPr>
            <p:cNvPr id="38" name="Rechteck 37"/>
            <p:cNvSpPr/>
            <p:nvPr/>
          </p:nvSpPr>
          <p:spPr>
            <a:xfrm>
              <a:off x="0" y="1030557"/>
              <a:ext cx="12192000" cy="2297434"/>
            </a:xfrm>
            <a:prstGeom prst="rect">
              <a:avLst/>
            </a:prstGeom>
            <a:solidFill>
              <a:srgbClr val="00549F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9" name="Gruppieren 38"/>
            <p:cNvGrpSpPr/>
            <p:nvPr/>
          </p:nvGrpSpPr>
          <p:grpSpPr>
            <a:xfrm>
              <a:off x="-12835" y="1030557"/>
              <a:ext cx="12204835" cy="2346530"/>
              <a:chOff x="-12835" y="1032778"/>
              <a:chExt cx="12204835" cy="2362969"/>
            </a:xfrm>
          </p:grpSpPr>
          <p:pic>
            <p:nvPicPr>
              <p:cNvPr id="40" name="Grafik 39"/>
              <p:cNvPicPr>
                <a:picLocks noChangeAspect="1"/>
              </p:cNvPicPr>
              <p:nvPr/>
            </p:nvPicPr>
            <p:blipFill rotWithShape="1">
              <a:blip r:embed="rId3">
                <a:lum bright="70000" contrast="-70000"/>
              </a:blip>
              <a:srcRect l="4123" t="5980" r="10107" b="34465"/>
              <a:stretch/>
            </p:blipFill>
            <p:spPr>
              <a:xfrm>
                <a:off x="6034471" y="1038029"/>
                <a:ext cx="6122894" cy="2357718"/>
              </a:xfrm>
              <a:prstGeom prst="rect">
                <a:avLst/>
              </a:prstGeom>
            </p:spPr>
          </p:pic>
          <p:pic>
            <p:nvPicPr>
              <p:cNvPr id="41" name="Grafik 40"/>
              <p:cNvPicPr>
                <a:picLocks noChangeAspect="1"/>
              </p:cNvPicPr>
              <p:nvPr/>
            </p:nvPicPr>
            <p:blipFill rotWithShape="1">
              <a:blip r:embed="rId4">
                <a:lum bright="70000" contrast="-70000"/>
              </a:blip>
              <a:srcRect l="2186" t="24453" r="3833" b="12011"/>
              <a:stretch/>
            </p:blipFill>
            <p:spPr>
              <a:xfrm>
                <a:off x="-12835" y="1064923"/>
                <a:ext cx="7293400" cy="2303930"/>
              </a:xfrm>
              <a:prstGeom prst="rect">
                <a:avLst/>
              </a:prstGeom>
            </p:spPr>
          </p:pic>
          <p:pic>
            <p:nvPicPr>
              <p:cNvPr id="42" name="Grafik 41"/>
              <p:cNvPicPr>
                <a:picLocks noChangeAspect="1"/>
              </p:cNvPicPr>
              <p:nvPr/>
            </p:nvPicPr>
            <p:blipFill rotWithShape="1">
              <a:blip r:embed="rId5">
                <a:lum bright="70000" contrast="-70000"/>
              </a:blip>
              <a:srcRect l="978" t="7138" r="438" b="7289"/>
              <a:stretch/>
            </p:blipFill>
            <p:spPr>
              <a:xfrm>
                <a:off x="4317730" y="1057451"/>
                <a:ext cx="4778188" cy="2300089"/>
              </a:xfrm>
              <a:prstGeom prst="rect">
                <a:avLst/>
              </a:prstGeom>
            </p:spPr>
          </p:pic>
          <p:pic>
            <p:nvPicPr>
              <p:cNvPr id="43" name="Grafik 42"/>
              <p:cNvPicPr>
                <a:picLocks noChangeAspect="1"/>
              </p:cNvPicPr>
              <p:nvPr/>
            </p:nvPicPr>
            <p:blipFill rotWithShape="1">
              <a:blip r:embed="rId6">
                <a:lum bright="70000" contrast="-70000"/>
              </a:blip>
              <a:srcRect r="642"/>
              <a:stretch/>
            </p:blipFill>
            <p:spPr>
              <a:xfrm>
                <a:off x="8558469" y="1170394"/>
                <a:ext cx="3403437" cy="2043006"/>
              </a:xfrm>
              <a:prstGeom prst="rect">
                <a:avLst/>
              </a:prstGeom>
            </p:spPr>
          </p:pic>
          <p:pic>
            <p:nvPicPr>
              <p:cNvPr id="44" name="Grafik 43"/>
              <p:cNvPicPr>
                <a:picLocks noChangeAspect="1"/>
              </p:cNvPicPr>
              <p:nvPr/>
            </p:nvPicPr>
            <p:blipFill rotWithShape="1">
              <a:blip r:embed="rId7">
                <a:lum bright="70000" contrast="-70000"/>
              </a:blip>
              <a:srcRect l="12615" t="8698" r="-1842" b="932"/>
              <a:stretch/>
            </p:blipFill>
            <p:spPr>
              <a:xfrm>
                <a:off x="331428" y="1059845"/>
                <a:ext cx="4655314" cy="2316480"/>
              </a:xfrm>
              <a:prstGeom prst="rect">
                <a:avLst/>
              </a:prstGeom>
            </p:spPr>
          </p:pic>
          <p:sp>
            <p:nvSpPr>
              <p:cNvPr id="45" name="Rechteck 44"/>
              <p:cNvSpPr/>
              <p:nvPr/>
            </p:nvSpPr>
            <p:spPr>
              <a:xfrm>
                <a:off x="-12835" y="1032778"/>
                <a:ext cx="12204835" cy="2318237"/>
              </a:xfrm>
              <a:prstGeom prst="rect">
                <a:avLst/>
              </a:prstGeom>
              <a:gradFill flip="none" rotWithShape="1">
                <a:gsLst>
                  <a:gs pos="49000">
                    <a:srgbClr val="8EBAE5">
                      <a:lumMod val="75000"/>
                      <a:alpha val="36000"/>
                    </a:srgbClr>
                  </a:gs>
                  <a:gs pos="100000">
                    <a:srgbClr val="00549F"/>
                  </a:gs>
                </a:gsLst>
                <a:lin ang="10800000" scaled="1"/>
                <a:tileRect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arrow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5886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3F02B50-D467-41F6-8F0B-DF2AA82136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4000" y="1236273"/>
            <a:ext cx="11483975" cy="4385455"/>
          </a:xfrm>
          <a:prstGeom prst="rect">
            <a:avLst/>
          </a:prstGeom>
        </p:spPr>
        <p:txBody>
          <a:bodyPr wrap="square" lIns="0" tIns="0" rIns="0" bIns="0"/>
          <a:lstStyle>
            <a:lvl1pPr marL="216000" indent="-216000">
              <a:buFont typeface="Arial" panose="020B0604020202020204" pitchFamily="34" charset="0"/>
              <a:buChar char="•"/>
              <a:defRPr/>
            </a:lvl1pPr>
            <a:lvl2pPr marL="432000" indent="-216000">
              <a:buFont typeface="Symbol" panose="05050102010706020507" pitchFamily="18" charset="2"/>
              <a:buChar char="-"/>
              <a:defRPr/>
            </a:lvl2pPr>
            <a:lvl3pPr marL="648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/>
            </a:lvl3pPr>
            <a:lvl4pPr marL="864000" indent="-216000">
              <a:buFont typeface="Symbol" panose="05050102010706020507" pitchFamily="18" charset="2"/>
              <a:buChar char="-"/>
              <a:defRPr/>
            </a:lvl4pPr>
            <a:lvl5pPr marL="647700" indent="0">
              <a:buNone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11432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794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D89513B-8A7E-430E-8F63-7469EC1FB664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D6F83956-15CC-418E-B737-9061141E4CD3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66B5100-86F8-4E8C-9DE1-10AD5FB9B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hteck 3"/>
          <p:cNvSpPr/>
          <p:nvPr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852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9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5703F518-B554-4AC1-A90D-7EDD58F262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84000" cy="926892"/>
          </a:xfrm>
          <a:prstGeom prst="rect">
            <a:avLst/>
          </a:prstGeom>
        </p:spPr>
        <p:txBody>
          <a:bodyPr lIns="0" tIns="0" rIns="0" bIns="0"/>
          <a:lstStyle>
            <a:lvl1pPr marL="0" indent="0" algn="l" eaLnBrk="1" hangingPunct="1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eaLnBrk="1" hangingPunct="1"/>
            <a:r>
              <a:rPr lang="de-DE" dirty="0"/>
              <a:t>Untertitelmasters durch Klicken bearbeiten</a:t>
            </a:r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D9FA7CF-D871-4A92-B637-6BD1D2660BDF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A6B56BE-B7D9-4ABB-9FC4-4C2C40CB6703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B385CDCE-8F09-4AAB-B014-0073E7D0486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feld 12"/>
          <p:cNvSpPr txBox="1"/>
          <p:nvPr userDrawn="1"/>
        </p:nvSpPr>
        <p:spPr>
          <a:xfrm>
            <a:off x="779929" y="2399316"/>
            <a:ext cx="111956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accent6"/>
                </a:solidFill>
              </a:rPr>
              <a:t>WRONG</a:t>
            </a:r>
            <a:r>
              <a:rPr lang="en-US" sz="9600" baseline="0" dirty="0">
                <a:solidFill>
                  <a:schemeClr val="accent6"/>
                </a:solidFill>
              </a:rPr>
              <a:t> </a:t>
            </a:r>
            <a:r>
              <a:rPr lang="en-US" sz="9600" dirty="0">
                <a:solidFill>
                  <a:schemeClr val="accent6"/>
                </a:solidFill>
              </a:rPr>
              <a:t>FORMAT</a:t>
            </a:r>
          </a:p>
          <a:p>
            <a:r>
              <a:rPr lang="en-US" sz="9600" dirty="0">
                <a:solidFill>
                  <a:schemeClr val="accent6"/>
                </a:solidFill>
              </a:rPr>
              <a:t>DO NOT USE </a:t>
            </a:r>
            <a:r>
              <a:rPr lang="en-US" sz="1800" dirty="0" err="1">
                <a:solidFill>
                  <a:schemeClr val="accent6"/>
                </a:solidFill>
              </a:rPr>
              <a:t>use</a:t>
            </a:r>
            <a:r>
              <a:rPr lang="en-US" sz="1800" dirty="0">
                <a:solidFill>
                  <a:schemeClr val="accent6"/>
                </a:solidFill>
              </a:rPr>
              <a:t> head instead</a:t>
            </a:r>
          </a:p>
        </p:txBody>
      </p:sp>
    </p:spTree>
    <p:extLst>
      <p:ext uri="{BB962C8B-B14F-4D97-AF65-F5344CB8AC3E}">
        <p14:creationId xmlns:p14="http://schemas.microsoft.com/office/powerpoint/2010/main" val="1335253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A05299-2FF2-4A4F-A821-7C9F8454768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4000" y="1235175"/>
            <a:ext cx="5652000" cy="438594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 marL="648000" indent="-216000">
              <a:buFont typeface="Wingdings" panose="05000000000000000000" pitchFamily="2" charset="2"/>
              <a:buChar char="§"/>
              <a:defRPr/>
            </a:lvl3pPr>
            <a:lvl4pPr marL="864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tabLst>
                <a:tab pos="863600" algn="l"/>
              </a:tabLst>
              <a:defRPr spc="0" baseline="0"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1E01F76-AA87-4FC5-AF89-220C0D52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6000" y="1236273"/>
            <a:ext cx="5652000" cy="4385455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Textfeld 2"/>
          <p:cNvSpPr txBox="1"/>
          <p:nvPr userDrawn="1"/>
        </p:nvSpPr>
        <p:spPr>
          <a:xfrm>
            <a:off x="779929" y="2430576"/>
            <a:ext cx="1119564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accent6"/>
                </a:solidFill>
              </a:rPr>
              <a:t>WRONG</a:t>
            </a:r>
            <a:r>
              <a:rPr lang="en-US" sz="9600" baseline="0" dirty="0">
                <a:solidFill>
                  <a:schemeClr val="accent6"/>
                </a:solidFill>
              </a:rPr>
              <a:t> </a:t>
            </a:r>
            <a:r>
              <a:rPr lang="en-US" sz="9600" dirty="0">
                <a:solidFill>
                  <a:schemeClr val="accent6"/>
                </a:solidFill>
              </a:rPr>
              <a:t>FORMA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600" dirty="0">
                <a:solidFill>
                  <a:schemeClr val="accent6"/>
                </a:solidFill>
              </a:rPr>
              <a:t>DO NOT US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71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use the flipped one instead (and manually copy the content(!) of the flipped pages)</a:t>
            </a:r>
          </a:p>
        </p:txBody>
      </p:sp>
    </p:spTree>
    <p:extLst>
      <p:ext uri="{BB962C8B-B14F-4D97-AF65-F5344CB8AC3E}">
        <p14:creationId xmlns:p14="http://schemas.microsoft.com/office/powerpoint/2010/main" val="492100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A05299-2FF2-4A4F-A821-7C9F8454768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16000" y="1234689"/>
            <a:ext cx="5652000" cy="438594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 marL="648000" indent="-216000">
              <a:buFont typeface="Wingdings" panose="05000000000000000000" pitchFamily="2" charset="2"/>
              <a:buChar char="§"/>
              <a:defRPr/>
            </a:lvl3pPr>
            <a:lvl4pPr marL="864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tabLst>
                <a:tab pos="863600" algn="l"/>
              </a:tabLst>
              <a:defRPr spc="0" baseline="0"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1E01F76-AA87-4FC5-AF89-220C0D52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4000" y="1235175"/>
            <a:ext cx="5652000" cy="4385455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57279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mittig, Lin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84000" y="2980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E9EC9F2-3C9F-4A4B-9463-32200C1888C5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5BE7F8F3-90E3-4324-B96F-F4C733799980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FB93F6E7-9B79-444E-9797-C017CBCD9F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966A802-7238-4572-8B31-F10BAD15BE6A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01C63A65-01F5-4E3D-9EE7-E225D07B1954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97CBACAB-4E61-4BA4-A7E8-012536F511A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3369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mittig, Linie_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84000" y="3196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16" name="Gerader Verbinder 15"/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20B61E83-F62A-4E6F-9728-ABDE5413BA68}"/>
              </a:ext>
            </a:extLst>
          </p:cNvPr>
          <p:cNvGrpSpPr/>
          <p:nvPr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D3ED25C8-3644-4C59-B80C-B3EC3EBB6C18}"/>
                </a:ext>
              </a:extLst>
            </p:cNvPr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94E318B-6CC6-4660-9EC9-B8FEB8D24174}"/>
                </a:ext>
              </a:extLst>
            </p:cNvPr>
            <p:cNvCxnSpPr/>
            <p:nvPr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7E0399E-000C-4919-9189-D72AC9F21B27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39B952C-73F9-4639-9C6B-D79F321E7652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D1F7EFE-C1E5-46CC-AC0C-2ACADE80B3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BEA13B8-67E5-4E0C-87FF-5C3A86F3E1BB}"/>
              </a:ext>
            </a:extLst>
          </p:cNvPr>
          <p:cNvGrpSpPr/>
          <p:nvPr userDrawn="1"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2D7C05B6-2FEC-4BCF-B0D2-C4E0FBD988C4}"/>
                </a:ext>
              </a:extLst>
            </p:cNvPr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1DD01610-9DF8-4DC4-93DF-34D4ADF39035}"/>
                </a:ext>
              </a:extLst>
            </p:cNvPr>
            <p:cNvCxnSpPr/>
            <p:nvPr userDrawn="1"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E00B62C-5012-43AC-B2B8-7ABCCC897041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8204F29-F5C4-4D02-857A-E600F35F2E4F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4B9776-75B3-46D2-8C19-AE6D80A641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52032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82588" y="2487613"/>
            <a:ext cx="11483975" cy="107950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3200" b="1" dirty="0">
                <a:solidFill>
                  <a:schemeClr val="tx2"/>
                </a:solidFill>
              </a:rPr>
              <a:t>Vielen Dank</a:t>
            </a:r>
            <a:br>
              <a:rPr lang="de-DE" altLang="de-DE" sz="3200" b="1" dirty="0">
                <a:solidFill>
                  <a:schemeClr val="tx2"/>
                </a:solidFill>
              </a:rPr>
            </a:br>
            <a:r>
              <a:rPr lang="de-DE" altLang="de-DE" sz="3200" b="1" dirty="0">
                <a:solidFill>
                  <a:schemeClr val="tx2"/>
                </a:solidFill>
              </a:rPr>
              <a:t>für Ihre Aufmerksamkeit</a:t>
            </a:r>
            <a:endParaRPr lang="en-US" altLang="de-DE" sz="3200" b="1" dirty="0">
              <a:solidFill>
                <a:schemeClr val="tx2"/>
              </a:solidFill>
            </a:endParaRPr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84000" y="3988800"/>
            <a:ext cx="11484000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D42372E-A88B-49BE-BF8B-A349B6BE88BB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5E73DD95-497D-41DA-AE15-231D472ACF12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833C7AEA-7E75-4F96-A29D-6E01AE30A7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54A51D3-6BB0-4789-89BC-481D89445CBE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6F4FEE0A-400B-495A-BBAD-43B3BB9910CB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9BA932F8-ADAD-449E-8505-B146C5E2606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32144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E5AFDFE-2E2D-41C0-83AF-9142D9DC3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0925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12" imgW="592" imgH="591" progId="TCLayout.ActiveDocument.1">
                  <p:embed/>
                </p:oleObj>
              </mc:Choice>
              <mc:Fallback>
                <p:oleObj name="think-cell Folie" r:id="rId12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39CD8DE-4C7D-4115-826C-095081C9C550}"/>
              </a:ext>
            </a:extLst>
          </p:cNvPr>
          <p:cNvGrpSpPr/>
          <p:nvPr/>
        </p:nvGrpSpPr>
        <p:grpSpPr>
          <a:xfrm>
            <a:off x="173529" y="815854"/>
            <a:ext cx="11958041" cy="47645"/>
            <a:chOff x="118201" y="5981715"/>
            <a:chExt cx="11958041" cy="47645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E7A10CC4-C78C-496F-ADD8-BFFEA15832AC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8D031218-F43F-4F64-8EFA-18FF5CC8D4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Slide Number Placeholder 5"/>
          <p:cNvSpPr txBox="1">
            <a:spLocks/>
          </p:cNvSpPr>
          <p:nvPr/>
        </p:nvSpPr>
        <p:spPr>
          <a:xfrm>
            <a:off x="1195388" y="6227763"/>
            <a:ext cx="7002462" cy="6302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dirty="0">
                <a:solidFill>
                  <a:schemeClr val="tx2"/>
                </a:solidFill>
              </a:rPr>
              <a:t>Software Engineering</a:t>
            </a:r>
            <a:r>
              <a:rPr lang="de-DE" altLang="de-DE" sz="900" baseline="0" dirty="0">
                <a:solidFill>
                  <a:schemeClr val="tx2"/>
                </a:solidFill>
              </a:rPr>
              <a:t>  |  RWTH Aachen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60363" y="6227763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6546A872-26C7-4E5C-9125-775206BCBEA4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8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B07601A5-C709-41D1-A3FB-1067D511C6A0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23116334-B9FF-486F-853F-2FC0FEBBB345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0B09F16D-C13E-41E9-9D8E-F62185B5F9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37B7CE-1B7B-4BD9-84EC-35BB2F899117}"/>
              </a:ext>
            </a:extLst>
          </p:cNvPr>
          <p:cNvGrpSpPr/>
          <p:nvPr/>
        </p:nvGrpSpPr>
        <p:grpSpPr>
          <a:xfrm>
            <a:off x="837717" y="5981714"/>
            <a:ext cx="60076" cy="756405"/>
            <a:chOff x="875817" y="5981714"/>
            <a:chExt cx="60076" cy="756405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662A21AE-7533-4515-8E6B-0629BDE1E199}"/>
                </a:ext>
              </a:extLst>
            </p:cNvPr>
            <p:cNvCxnSpPr>
              <a:cxnSpLocks/>
            </p:cNvCxnSpPr>
            <p:nvPr/>
          </p:nvCxnSpPr>
          <p:spPr>
            <a:xfrm>
              <a:off x="875817" y="5981714"/>
              <a:ext cx="0" cy="705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2D2DC96-2606-46A7-BE47-231944BE7F88}"/>
                </a:ext>
              </a:extLst>
            </p:cNvPr>
            <p:cNvCxnSpPr>
              <a:cxnSpLocks/>
            </p:cNvCxnSpPr>
            <p:nvPr/>
          </p:nvCxnSpPr>
          <p:spPr>
            <a:xfrm>
              <a:off x="935893" y="6032519"/>
              <a:ext cx="0" cy="7056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E8F4D0-8DD9-4778-8FAF-1A3AAD236EE6}"/>
              </a:ext>
            </a:extLst>
          </p:cNvPr>
          <p:cNvGrpSpPr/>
          <p:nvPr userDrawn="1"/>
        </p:nvGrpSpPr>
        <p:grpSpPr>
          <a:xfrm>
            <a:off x="173529" y="815854"/>
            <a:ext cx="11958041" cy="47645"/>
            <a:chOff x="118201" y="5981715"/>
            <a:chExt cx="11958041" cy="47645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F39390DE-7CDF-413A-BA63-9DBE991A03FE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8FE4379-972E-42EA-875D-205082A0626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D885A2B-353E-4CC6-AE36-D7FBA6412355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542BAD79-77B5-4F17-9B1B-118759906CC7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49B137E-A382-4784-8424-D97BEBD109F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64B58725-E025-476C-8EFF-8D44F3A77022}"/>
              </a:ext>
            </a:extLst>
          </p:cNvPr>
          <p:cNvGrpSpPr/>
          <p:nvPr userDrawn="1"/>
        </p:nvGrpSpPr>
        <p:grpSpPr>
          <a:xfrm>
            <a:off x="837717" y="5981714"/>
            <a:ext cx="60076" cy="756405"/>
            <a:chOff x="875817" y="5981714"/>
            <a:chExt cx="60076" cy="756405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1243A30B-762F-4D0C-8856-A9541783A9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5817" y="5981714"/>
              <a:ext cx="0" cy="705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CB409D8-D56C-486C-ABAB-CCD3DECF18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5893" y="6032519"/>
              <a:ext cx="0" cy="7056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28331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6" r:id="rId2"/>
    <p:sldLayoutId id="2147483905" r:id="rId3"/>
    <p:sldLayoutId id="2147483907" r:id="rId4"/>
    <p:sldLayoutId id="2147483911" r:id="rId5"/>
    <p:sldLayoutId id="2147483908" r:id="rId6"/>
    <p:sldLayoutId id="2147483909" r:id="rId7"/>
    <p:sldLayoutId id="2147483910" r:id="rId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1ACD847-9451-4321-A8B3-EB5E031BA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lags und Abkürzungen für Diagrammtypen</a:t>
            </a:r>
          </a:p>
        </p:txBody>
      </p:sp>
      <p:sp>
        <p:nvSpPr>
          <p:cNvPr id="48" name="AutoShape 40">
            <a:extLst>
              <a:ext uri="{FF2B5EF4-FFF2-40B4-BE49-F238E27FC236}">
                <a16:creationId xmlns:a16="http://schemas.microsoft.com/office/drawing/2014/main" id="{2FE784A9-7A8D-4010-B416-69A03F21FA0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180712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D</a:t>
            </a:r>
          </a:p>
        </p:txBody>
      </p:sp>
      <p:sp>
        <p:nvSpPr>
          <p:cNvPr id="49" name="AutoShape 40">
            <a:extLst>
              <a:ext uri="{FF2B5EF4-FFF2-40B4-BE49-F238E27FC236}">
                <a16:creationId xmlns:a16="http://schemas.microsoft.com/office/drawing/2014/main" id="{071347EB-A551-4F1D-A738-C6AB3D8E729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8" y="2901421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G</a:t>
            </a:r>
          </a:p>
        </p:txBody>
      </p:sp>
      <p:sp>
        <p:nvSpPr>
          <p:cNvPr id="50" name="AutoShape 40">
            <a:extLst>
              <a:ext uri="{FF2B5EF4-FFF2-40B4-BE49-F238E27FC236}">
                <a16:creationId xmlns:a16="http://schemas.microsoft.com/office/drawing/2014/main" id="{1C52C5E7-B2DB-43B0-9388-850ADEDDEE46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21765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S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2C9F35DB-D65C-4FA3-A018-3C91B045205B}"/>
              </a:ext>
            </a:extLst>
          </p:cNvPr>
          <p:cNvSpPr/>
          <p:nvPr/>
        </p:nvSpPr>
        <p:spPr>
          <a:xfrm>
            <a:off x="1350254" y="1771883"/>
            <a:ext cx="16594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Class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BC7BB31-F27F-4D26-ACC4-9F87D6BC8012}"/>
              </a:ext>
            </a:extLst>
          </p:cNvPr>
          <p:cNvSpPr/>
          <p:nvPr/>
        </p:nvSpPr>
        <p:spPr>
          <a:xfrm>
            <a:off x="1342526" y="3284117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C++ Cod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0296DC3-984F-427D-8528-C6AAB3F992C1}"/>
              </a:ext>
            </a:extLst>
          </p:cNvPr>
          <p:cNvSpPr/>
          <p:nvPr/>
        </p:nvSpPr>
        <p:spPr>
          <a:xfrm>
            <a:off x="5549883" y="2861361"/>
            <a:ext cx="12875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Java Code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5D1398FE-0C6E-4847-9AF0-DC645722FA4C}"/>
              </a:ext>
            </a:extLst>
          </p:cNvPr>
          <p:cNvSpPr/>
          <p:nvPr/>
        </p:nvSpPr>
        <p:spPr>
          <a:xfrm>
            <a:off x="1359672" y="1389239"/>
            <a:ext cx="18774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Activity diagram </a:t>
            </a:r>
            <a:endParaRPr lang="de-DE" dirty="0"/>
          </a:p>
        </p:txBody>
      </p:sp>
      <p:sp>
        <p:nvSpPr>
          <p:cNvPr id="55" name="AutoShape 40">
            <a:extLst>
              <a:ext uri="{FF2B5EF4-FFF2-40B4-BE49-F238E27FC236}">
                <a16:creationId xmlns:a16="http://schemas.microsoft.com/office/drawing/2014/main" id="{7F7DE455-5DF0-4D7F-A762-1668551422D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081" y="1443535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D</a:t>
            </a:r>
          </a:p>
        </p:txBody>
      </p:sp>
      <p:sp>
        <p:nvSpPr>
          <p:cNvPr id="56" name="AutoShape 40">
            <a:extLst>
              <a:ext uri="{FF2B5EF4-FFF2-40B4-BE49-F238E27FC236}">
                <a16:creationId xmlns:a16="http://schemas.microsoft.com/office/drawing/2014/main" id="{4B4A0823-4B65-4EF3-8B0A-2B328AB6DE08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7" y="1441294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OD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75C7FC44-D07F-4A55-A575-D762EC6AEF52}"/>
              </a:ext>
            </a:extLst>
          </p:cNvPr>
          <p:cNvSpPr/>
          <p:nvPr/>
        </p:nvSpPr>
        <p:spPr>
          <a:xfrm>
            <a:off x="5549461" y="1408588"/>
            <a:ext cx="17491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58" name="AutoShape 40">
            <a:extLst>
              <a:ext uri="{FF2B5EF4-FFF2-40B4-BE49-F238E27FC236}">
                <a16:creationId xmlns:a16="http://schemas.microsoft.com/office/drawing/2014/main" id="{EF594C4C-3A4A-4120-BA1D-81F8C01793C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906" y="108431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G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DBFB35F-AFE3-4896-B5BB-1F145330379E}"/>
              </a:ext>
            </a:extLst>
          </p:cNvPr>
          <p:cNvSpPr/>
          <p:nvPr/>
        </p:nvSpPr>
        <p:spPr>
          <a:xfrm>
            <a:off x="1360982" y="1051606"/>
            <a:ext cx="2031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Attribute </a:t>
            </a:r>
            <a:r>
              <a:rPr lang="de-DE" dirty="0" err="1"/>
              <a:t>grammar</a:t>
            </a:r>
            <a:endParaRPr lang="de-DE" dirty="0"/>
          </a:p>
        </p:txBody>
      </p:sp>
      <p:sp>
        <p:nvSpPr>
          <p:cNvPr id="60" name="AutoShape 40">
            <a:extLst>
              <a:ext uri="{FF2B5EF4-FFF2-40B4-BE49-F238E27FC236}">
                <a16:creationId xmlns:a16="http://schemas.microsoft.com/office/drawing/2014/main" id="{A828267B-9F32-4B05-9C8A-4437B67A17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216482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SD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92E26CB-CC0B-43BF-B9F1-BE155BA9F095}"/>
              </a:ext>
            </a:extLst>
          </p:cNvPr>
          <p:cNvSpPr/>
          <p:nvPr/>
        </p:nvSpPr>
        <p:spPr>
          <a:xfrm>
            <a:off x="1352053" y="2138464"/>
            <a:ext cx="33265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Composition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62" name="AutoShape 40">
            <a:extLst>
              <a:ext uri="{FF2B5EF4-FFF2-40B4-BE49-F238E27FC236}">
                <a16:creationId xmlns:a16="http://schemas.microsoft.com/office/drawing/2014/main" id="{E5B7A567-C252-4D43-AC3E-B22E5F819D75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253312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A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CED035D-7620-4643-B027-B305486D647A}"/>
              </a:ext>
            </a:extLst>
          </p:cNvPr>
          <p:cNvSpPr/>
          <p:nvPr/>
        </p:nvSpPr>
        <p:spPr>
          <a:xfrm>
            <a:off x="1342527" y="2500414"/>
            <a:ext cx="19928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Arc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64" name="AutoShape 40">
            <a:extLst>
              <a:ext uri="{FF2B5EF4-FFF2-40B4-BE49-F238E27FC236}">
                <a16:creationId xmlns:a16="http://schemas.microsoft.com/office/drawing/2014/main" id="{08F9A63E-51D6-4C47-BCB4-21884ABC4E5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25383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C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22CE1CB-DE88-4EB2-8A3D-081F0B6BE619}"/>
              </a:ext>
            </a:extLst>
          </p:cNvPr>
          <p:cNvSpPr/>
          <p:nvPr/>
        </p:nvSpPr>
        <p:spPr>
          <a:xfrm>
            <a:off x="5549462" y="3284117"/>
            <a:ext cx="2262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Arc</a:t>
            </a:r>
            <a:r>
              <a:rPr lang="de-DE" dirty="0"/>
              <a:t> </a:t>
            </a:r>
            <a:r>
              <a:rPr lang="de-DE" dirty="0" err="1"/>
              <a:t>Automaton</a:t>
            </a:r>
            <a:endParaRPr lang="de-DE" dirty="0"/>
          </a:p>
        </p:txBody>
      </p:sp>
      <p:sp>
        <p:nvSpPr>
          <p:cNvPr id="66" name="AutoShape 40">
            <a:extLst>
              <a:ext uri="{FF2B5EF4-FFF2-40B4-BE49-F238E27FC236}">
                <a16:creationId xmlns:a16="http://schemas.microsoft.com/office/drawing/2014/main" id="{57B29284-CA4F-43A4-8503-3D8CDA7EEA2B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1811117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SC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B155387-9132-45D1-914A-12C803E67A24}"/>
              </a:ext>
            </a:extLst>
          </p:cNvPr>
          <p:cNvSpPr/>
          <p:nvPr/>
        </p:nvSpPr>
        <p:spPr>
          <a:xfrm>
            <a:off x="5539936" y="1778411"/>
            <a:ext cx="18431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UML </a:t>
            </a:r>
            <a:r>
              <a:rPr lang="de-DE" dirty="0" err="1"/>
              <a:t>Statechart</a:t>
            </a:r>
            <a:endParaRPr lang="de-DE" dirty="0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3FC11471-69D6-472B-BB7C-A1AFB11A0CAF}"/>
              </a:ext>
            </a:extLst>
          </p:cNvPr>
          <p:cNvSpPr/>
          <p:nvPr/>
        </p:nvSpPr>
        <p:spPr>
          <a:xfrm>
            <a:off x="5538787" y="106815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eta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Facility</a:t>
            </a:r>
            <a:endParaRPr lang="de-DE" dirty="0"/>
          </a:p>
        </p:txBody>
      </p:sp>
      <p:sp>
        <p:nvSpPr>
          <p:cNvPr id="69" name="AutoShape 40">
            <a:extLst>
              <a:ext uri="{FF2B5EF4-FFF2-40B4-BE49-F238E27FC236}">
                <a16:creationId xmlns:a16="http://schemas.microsoft.com/office/drawing/2014/main" id="{87DF9699-1B82-4991-9009-851D46080FA6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37099" y="10830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OF</a:t>
            </a:r>
          </a:p>
        </p:txBody>
      </p:sp>
      <p:sp>
        <p:nvSpPr>
          <p:cNvPr id="70" name="AutoShape 40">
            <a:extLst>
              <a:ext uri="{FF2B5EF4-FFF2-40B4-BE49-F238E27FC236}">
                <a16:creationId xmlns:a16="http://schemas.microsoft.com/office/drawing/2014/main" id="{0C94752D-4907-4824-AEC9-F2707031B32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7" y="329340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AA</a:t>
            </a:r>
          </a:p>
        </p:txBody>
      </p:sp>
      <p:sp>
        <p:nvSpPr>
          <p:cNvPr id="71" name="AutoShape 40">
            <a:extLst>
              <a:ext uri="{FF2B5EF4-FFF2-40B4-BE49-F238E27FC236}">
                <a16:creationId xmlns:a16="http://schemas.microsoft.com/office/drawing/2014/main" id="{74EF6142-74A7-42C8-B717-53DD5D80B6F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37099" y="2901421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Java</a:t>
            </a:r>
          </a:p>
        </p:txBody>
      </p:sp>
      <p:sp>
        <p:nvSpPr>
          <p:cNvPr id="72" name="AutoShape 40">
            <a:extLst>
              <a:ext uri="{FF2B5EF4-FFF2-40B4-BE49-F238E27FC236}">
                <a16:creationId xmlns:a16="http://schemas.microsoft.com/office/drawing/2014/main" id="{FF52F064-6946-48D2-A3F3-2CC1638EEA7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329340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++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D951E7D-8439-4C71-AB13-C2D809B3ED79}"/>
              </a:ext>
            </a:extLst>
          </p:cNvPr>
          <p:cNvSpPr/>
          <p:nvPr/>
        </p:nvSpPr>
        <p:spPr>
          <a:xfrm>
            <a:off x="1342526" y="2856015"/>
            <a:ext cx="22365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Core</a:t>
            </a:r>
            <a:r>
              <a:rPr lang="de-DE" dirty="0"/>
              <a:t> </a:t>
            </a:r>
            <a:r>
              <a:rPr lang="de-DE" dirty="0" err="1"/>
              <a:t>grammar</a:t>
            </a:r>
            <a:endParaRPr lang="de-DE" dirty="0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C1D00A7E-F446-4AF7-BDE6-E01BC997CA95}"/>
              </a:ext>
            </a:extLst>
          </p:cNvPr>
          <p:cNvSpPr/>
          <p:nvPr/>
        </p:nvSpPr>
        <p:spPr>
          <a:xfrm>
            <a:off x="5549883" y="2143873"/>
            <a:ext cx="21852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Sequence</a:t>
            </a:r>
            <a:r>
              <a:rPr lang="de-DE" dirty="0"/>
              <a:t> </a:t>
            </a:r>
            <a:r>
              <a:rPr lang="de-DE" dirty="0" err="1"/>
              <a:t>diagram</a:t>
            </a:r>
            <a:r>
              <a:rPr lang="de-DE" dirty="0"/>
              <a:t> 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1DA2B0D-F878-4FC5-A392-B63B3C72190B}"/>
              </a:ext>
            </a:extLst>
          </p:cNvPr>
          <p:cNvSpPr/>
          <p:nvPr/>
        </p:nvSpPr>
        <p:spPr>
          <a:xfrm>
            <a:off x="5549462" y="2499323"/>
            <a:ext cx="16979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JUnit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</p:txBody>
      </p:sp>
      <p:sp>
        <p:nvSpPr>
          <p:cNvPr id="76" name="AutoShape 40">
            <a:extLst>
              <a:ext uri="{FF2B5EF4-FFF2-40B4-BE49-F238E27FC236}">
                <a16:creationId xmlns:a16="http://schemas.microsoft.com/office/drawing/2014/main" id="{4F7CE763-5A47-4C45-8199-7B4460C6883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308" y="4219284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 err="1"/>
              <a:t>Statechart</a:t>
            </a:r>
            <a:endParaRPr lang="en-US" altLang="de-DE" sz="1600" dirty="0"/>
          </a:p>
        </p:txBody>
      </p:sp>
      <p:sp>
        <p:nvSpPr>
          <p:cNvPr id="77" name="AutoShape 40">
            <a:extLst>
              <a:ext uri="{FF2B5EF4-FFF2-40B4-BE49-F238E27FC236}">
                <a16:creationId xmlns:a16="http://schemas.microsoft.com/office/drawing/2014/main" id="{0709D0CD-B9E2-4812-84AC-1682C4FA295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906" y="4596092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utomaton</a:t>
            </a:r>
          </a:p>
        </p:txBody>
      </p:sp>
      <p:sp>
        <p:nvSpPr>
          <p:cNvPr id="78" name="AutoShape 40">
            <a:extLst>
              <a:ext uri="{FF2B5EF4-FFF2-40B4-BE49-F238E27FC236}">
                <a16:creationId xmlns:a16="http://schemas.microsoft.com/office/drawing/2014/main" id="{737B67E2-9369-40D3-819E-9DA30F7EA35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116550"/>
            <a:ext cx="2000264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omponent Diagram</a:t>
            </a:r>
          </a:p>
        </p:txBody>
      </p:sp>
      <p:sp>
        <p:nvSpPr>
          <p:cNvPr id="79" name="AutoShape 40">
            <a:extLst>
              <a:ext uri="{FF2B5EF4-FFF2-40B4-BE49-F238E27FC236}">
                <a16:creationId xmlns:a16="http://schemas.microsoft.com/office/drawing/2014/main" id="{37127E90-51AF-49FD-B476-A23D5ECE8BC1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3791640"/>
            <a:ext cx="2000264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Deployment Diagram</a:t>
            </a:r>
          </a:p>
        </p:txBody>
      </p:sp>
      <p:sp>
        <p:nvSpPr>
          <p:cNvPr id="80" name="AutoShape 40">
            <a:extLst>
              <a:ext uri="{FF2B5EF4-FFF2-40B4-BE49-F238E27FC236}">
                <a16:creationId xmlns:a16="http://schemas.microsoft.com/office/drawing/2014/main" id="{60D5D36B-C6F6-4EF6-9ABD-53690F19AD6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441460"/>
            <a:ext cx="139541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ommandline</a:t>
            </a:r>
          </a:p>
        </p:txBody>
      </p:sp>
      <p:sp>
        <p:nvSpPr>
          <p:cNvPr id="81" name="AutoShape 24">
            <a:extLst>
              <a:ext uri="{FF2B5EF4-FFF2-40B4-BE49-F238E27FC236}">
                <a16:creationId xmlns:a16="http://schemas.microsoft.com/office/drawing/2014/main" id="{953261B6-8537-49C4-A541-DF92A25E71E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766370"/>
            <a:ext cx="1000132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</a:t>
            </a:r>
          </a:p>
        </p:txBody>
      </p:sp>
      <p:sp>
        <p:nvSpPr>
          <p:cNvPr id="82" name="AutoShape 24">
            <a:extLst>
              <a:ext uri="{FF2B5EF4-FFF2-40B4-BE49-F238E27FC236}">
                <a16:creationId xmlns:a16="http://schemas.microsoft.com/office/drawing/2014/main" id="{8C66DAD0-81E0-42F3-B330-5AA5C0A2E1C1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5378096"/>
            <a:ext cx="774233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esult</a:t>
            </a:r>
          </a:p>
        </p:txBody>
      </p:sp>
      <p:sp>
        <p:nvSpPr>
          <p:cNvPr id="83" name="AutoShape 24">
            <a:extLst>
              <a:ext uri="{FF2B5EF4-FFF2-40B4-BE49-F238E27FC236}">
                <a16:creationId xmlns:a16="http://schemas.microsoft.com/office/drawing/2014/main" id="{4B127E39-398D-4993-954C-FDE9E6E963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5072232"/>
            <a:ext cx="1000132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rammar</a:t>
            </a:r>
          </a:p>
        </p:txBody>
      </p:sp>
      <p:sp>
        <p:nvSpPr>
          <p:cNvPr id="84" name="AutoShape 40">
            <a:extLst>
              <a:ext uri="{FF2B5EF4-FFF2-40B4-BE49-F238E27FC236}">
                <a16:creationId xmlns:a16="http://schemas.microsoft.com/office/drawing/2014/main" id="{1AF71840-E50D-40BB-BB5E-91DD6F96D16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98574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Wiki</a:t>
            </a:r>
          </a:p>
        </p:txBody>
      </p:sp>
      <p:sp>
        <p:nvSpPr>
          <p:cNvPr id="85" name="AutoShape 40">
            <a:extLst>
              <a:ext uri="{FF2B5EF4-FFF2-40B4-BE49-F238E27FC236}">
                <a16:creationId xmlns:a16="http://schemas.microsoft.com/office/drawing/2014/main" id="{E3D43F1A-7AE0-4124-82A7-6B8A95DDF5E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381679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/>
              <a:t>Graph</a:t>
            </a:r>
            <a:endParaRPr lang="en-US" altLang="de-DE" sz="1600" dirty="0"/>
          </a:p>
        </p:txBody>
      </p:sp>
      <p:sp>
        <p:nvSpPr>
          <p:cNvPr id="86" name="AutoShape 40">
            <a:extLst>
              <a:ext uri="{FF2B5EF4-FFF2-40B4-BE49-F238E27FC236}">
                <a16:creationId xmlns:a16="http://schemas.microsoft.com/office/drawing/2014/main" id="{49487914-7FFD-4667-AEB9-08884C85423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3830218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C</a:t>
            </a:r>
          </a:p>
        </p:txBody>
      </p:sp>
      <p:sp>
        <p:nvSpPr>
          <p:cNvPr id="87" name="AutoShape 40">
            <a:extLst>
              <a:ext uri="{FF2B5EF4-FFF2-40B4-BE49-F238E27FC236}">
                <a16:creationId xmlns:a16="http://schemas.microsoft.com/office/drawing/2014/main" id="{2316D921-FAC6-42D4-9EA7-73E2545BE7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219868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 err="1"/>
              <a:t>LaTeX</a:t>
            </a:r>
            <a:endParaRPr lang="en-US" altLang="de-DE" sz="1600" dirty="0"/>
          </a:p>
        </p:txBody>
      </p:sp>
      <p:sp>
        <p:nvSpPr>
          <p:cNvPr id="88" name="AutoShape 40">
            <a:extLst>
              <a:ext uri="{FF2B5EF4-FFF2-40B4-BE49-F238E27FC236}">
                <a16:creationId xmlns:a16="http://schemas.microsoft.com/office/drawing/2014/main" id="{0D454A8E-1266-4CFE-AC6F-028EFDBD78B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20644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html</a:t>
            </a:r>
          </a:p>
        </p:txBody>
      </p:sp>
      <p:sp>
        <p:nvSpPr>
          <p:cNvPr id="89" name="AutoShape 40">
            <a:extLst>
              <a:ext uri="{FF2B5EF4-FFF2-40B4-BE49-F238E27FC236}">
                <a16:creationId xmlns:a16="http://schemas.microsoft.com/office/drawing/2014/main" id="{103EB3EF-2927-411F-9FBF-D08E74982A8E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59609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ext</a:t>
            </a:r>
          </a:p>
        </p:txBody>
      </p:sp>
      <p:sp>
        <p:nvSpPr>
          <p:cNvPr id="90" name="AutoShape 22">
            <a:extLst>
              <a:ext uri="{FF2B5EF4-FFF2-40B4-BE49-F238E27FC236}">
                <a16:creationId xmlns:a16="http://schemas.microsoft.com/office/drawing/2014/main" id="{6673AE5E-2CBB-4B99-87C7-692AB2A401F8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985740"/>
            <a:ext cx="822325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algn="ctr" eaLnBrk="0" hangingPunct="0">
              <a:lnSpc>
                <a:spcPct val="70000"/>
              </a:lnSpc>
            </a:pPr>
            <a:r>
              <a:rPr lang="en-US" altLang="de-DE" sz="1600"/>
              <a:t>OD Data</a:t>
            </a:r>
          </a:p>
        </p:txBody>
      </p:sp>
      <p:sp>
        <p:nvSpPr>
          <p:cNvPr id="91" name="AutoShape 23">
            <a:extLst>
              <a:ext uri="{FF2B5EF4-FFF2-40B4-BE49-F238E27FC236}">
                <a16:creationId xmlns:a16="http://schemas.microsoft.com/office/drawing/2014/main" id="{CE4E6F89-4D13-4C78-B157-69B456E4C92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600854"/>
            <a:ext cx="1035050" cy="300038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algn="ctr" eaLnBrk="0" hangingPunct="0">
              <a:lnSpc>
                <a:spcPct val="70000"/>
              </a:lnSpc>
            </a:pPr>
            <a:r>
              <a:rPr lang="en-US" altLang="de-DE" sz="1600"/>
              <a:t>OD Result</a:t>
            </a:r>
          </a:p>
        </p:txBody>
      </p:sp>
      <p:sp>
        <p:nvSpPr>
          <p:cNvPr id="47" name="AutoShape 20"/>
          <p:cNvSpPr>
            <a:spLocks noChangeArrowheads="1"/>
          </p:cNvSpPr>
          <p:nvPr/>
        </p:nvSpPr>
        <p:spPr bwMode="auto">
          <a:xfrm>
            <a:off x="11064544" y="913066"/>
            <a:ext cx="1081087" cy="360362"/>
          </a:xfrm>
          <a:prstGeom prst="plus">
            <a:avLst>
              <a:gd name="adj" fmla="val 25000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dirty="0"/>
              <a:t>Rep.</a:t>
            </a:r>
          </a:p>
        </p:txBody>
      </p:sp>
      <p:sp>
        <p:nvSpPr>
          <p:cNvPr id="92" name="AutoShape 20"/>
          <p:cNvSpPr>
            <a:spLocks noChangeArrowheads="1"/>
          </p:cNvSpPr>
          <p:nvPr/>
        </p:nvSpPr>
        <p:spPr bwMode="auto">
          <a:xfrm>
            <a:off x="11064544" y="40342"/>
            <a:ext cx="1081087" cy="360362"/>
          </a:xfrm>
          <a:prstGeom prst="plus">
            <a:avLst>
              <a:gd name="adj" fmla="val 25000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dirty="0"/>
              <a:t>Appendix</a:t>
            </a:r>
          </a:p>
        </p:txBody>
      </p:sp>
      <p:sp>
        <p:nvSpPr>
          <p:cNvPr id="93" name="AutoShape 40">
            <a:extLst>
              <a:ext uri="{FF2B5EF4-FFF2-40B4-BE49-F238E27FC236}">
                <a16:creationId xmlns:a16="http://schemas.microsoft.com/office/drawing/2014/main" id="{4F7CE763-5A47-4C45-8199-7B4460C6883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308" y="4978745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Definition</a:t>
            </a:r>
          </a:p>
        </p:txBody>
      </p:sp>
    </p:spTree>
    <p:extLst>
      <p:ext uri="{BB962C8B-B14F-4D97-AF65-F5344CB8AC3E}">
        <p14:creationId xmlns:p14="http://schemas.microsoft.com/office/powerpoint/2010/main" val="214619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B2931D7-72C8-4F06-90D5-3316E91591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diagramm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183D623-3273-4C8C-AC9B-5C5D801A59B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Im Prinzip wie bei Klassendiagramm, Unterschiede sind:</a:t>
            </a:r>
          </a:p>
          <a:p>
            <a:pPr lvl="1"/>
            <a:r>
              <a:rPr lang="de-DE" dirty="0"/>
              <a:t>i.A. werden Methoden weggelassen</a:t>
            </a:r>
          </a:p>
          <a:p>
            <a:pPr lvl="1"/>
            <a:r>
              <a:rPr lang="de-DE" dirty="0"/>
              <a:t>Attribute enthalten Werte</a:t>
            </a:r>
          </a:p>
          <a:p>
            <a:pPr lvl="1"/>
            <a:r>
              <a:rPr lang="de-DE" dirty="0"/>
              <a:t>Objekte sind benannt </a:t>
            </a:r>
            <a:r>
              <a:rPr lang="de-DE" u="sng" dirty="0" err="1"/>
              <a:t>tony</a:t>
            </a:r>
            <a:r>
              <a:rPr lang="de-DE" dirty="0"/>
              <a:t>, </a:t>
            </a:r>
            <a:r>
              <a:rPr lang="de-DE" u="sng" dirty="0" err="1"/>
              <a:t>tony</a:t>
            </a:r>
            <a:r>
              <a:rPr lang="de-DE" u="sng" dirty="0"/>
              <a:t>::Person</a:t>
            </a:r>
            <a:r>
              <a:rPr lang="de-DE" dirty="0"/>
              <a:t>, oder anonym </a:t>
            </a:r>
            <a:r>
              <a:rPr lang="de-DE" u="sng" dirty="0"/>
              <a:t>::Person</a:t>
            </a:r>
          </a:p>
          <a:p>
            <a:pPr lvl="2"/>
            <a:r>
              <a:rPr lang="de-DE" dirty="0"/>
              <a:t>„::“ oder „:“ sind beides erlaubt (aber nicht mixen)</a:t>
            </a:r>
          </a:p>
          <a:p>
            <a:endParaRPr lang="de-DE" dirty="0"/>
          </a:p>
          <a:p>
            <a:r>
              <a:rPr lang="de-DE" dirty="0"/>
              <a:t>Layout von Komposition und Aggregation wie beim Klassendiagramm. </a:t>
            </a:r>
          </a:p>
          <a:p>
            <a:pPr lvl="1"/>
            <a:r>
              <a:rPr lang="de-DE" dirty="0"/>
              <a:t>Vererbung gibt es allerdings nicht</a:t>
            </a:r>
          </a:p>
        </p:txBody>
      </p:sp>
      <p:grpSp>
        <p:nvGrpSpPr>
          <p:cNvPr id="23" name="Group 127">
            <a:extLst>
              <a:ext uri="{FF2B5EF4-FFF2-40B4-BE49-F238E27FC236}">
                <a16:creationId xmlns:a16="http://schemas.microsoft.com/office/drawing/2014/main" id="{5E881281-6F44-4F95-8A56-D1429072D5CF}"/>
              </a:ext>
            </a:extLst>
          </p:cNvPr>
          <p:cNvGrpSpPr>
            <a:grpSpLocks/>
          </p:cNvGrpSpPr>
          <p:nvPr/>
        </p:nvGrpSpPr>
        <p:grpSpPr bwMode="auto">
          <a:xfrm>
            <a:off x="7099251" y="1141169"/>
            <a:ext cx="2438400" cy="1295400"/>
            <a:chOff x="480" y="2208"/>
            <a:chExt cx="1536" cy="816"/>
          </a:xfrm>
        </p:grpSpPr>
        <p:sp>
          <p:nvSpPr>
            <p:cNvPr id="24" name="Rectangle 128">
              <a:extLst>
                <a:ext uri="{FF2B5EF4-FFF2-40B4-BE49-F238E27FC236}">
                  <a16:creationId xmlns:a16="http://schemas.microsoft.com/office/drawing/2014/main" id="{D3209C85-D03C-44A3-B60F-53E205B9F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208"/>
              <a:ext cx="1536" cy="81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Text Box 129">
              <a:extLst>
                <a:ext uri="{FF2B5EF4-FFF2-40B4-BE49-F238E27FC236}">
                  <a16:creationId xmlns:a16="http://schemas.microsoft.com/office/drawing/2014/main" id="{B9E4D288-D060-4F46-BADD-7CDF304DB3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8" y="2246"/>
              <a:ext cx="949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de-DE" altLang="de-DE" sz="1600" u="sng" dirty="0"/>
                <a:t>t</a:t>
              </a:r>
              <a:r>
                <a:rPr lang="en-US" altLang="de-DE" sz="1600" u="sng" dirty="0" err="1"/>
                <a:t>ony:Customer</a:t>
              </a:r>
              <a:endParaRPr lang="en-US" altLang="de-DE" sz="1600" u="sng" dirty="0"/>
            </a:p>
          </p:txBody>
        </p:sp>
        <p:sp>
          <p:nvSpPr>
            <p:cNvPr id="26" name="Rectangle 130">
              <a:extLst>
                <a:ext uri="{FF2B5EF4-FFF2-40B4-BE49-F238E27FC236}">
                  <a16:creationId xmlns:a16="http://schemas.microsoft.com/office/drawing/2014/main" id="{E5DFBD52-DAD5-427B-9F8E-541FF5569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496"/>
              <a:ext cx="1536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Text Box 131">
              <a:extLst>
                <a:ext uri="{FF2B5EF4-FFF2-40B4-BE49-F238E27FC236}">
                  <a16:creationId xmlns:a16="http://schemas.microsoft.com/office/drawing/2014/main" id="{618406F5-ADEF-4A65-BEE8-B2769A932F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" y="2496"/>
              <a:ext cx="1444" cy="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 dirty="0" err="1"/>
                <a:t>name</a:t>
              </a:r>
              <a:r>
                <a:rPr lang="de-DE" sz="1600" dirty="0"/>
                <a:t> = „Tony Smith“ </a:t>
              </a:r>
            </a:p>
            <a:p>
              <a:r>
                <a:rPr lang="de-DE" sz="1600" dirty="0" err="1"/>
                <a:t>birthday</a:t>
              </a:r>
              <a:r>
                <a:rPr lang="de-DE" sz="1600" dirty="0"/>
                <a:t> = „02/29/1964“</a:t>
              </a:r>
            </a:p>
            <a:p>
              <a:r>
                <a:rPr lang="de-DE" sz="1600" dirty="0" err="1"/>
                <a:t>age</a:t>
              </a:r>
              <a:r>
                <a:rPr lang="de-DE" sz="1600" dirty="0"/>
                <a:t> = 39</a:t>
              </a:r>
            </a:p>
          </p:txBody>
        </p:sp>
      </p:grpSp>
      <p:grpSp>
        <p:nvGrpSpPr>
          <p:cNvPr id="28" name="Group 132">
            <a:extLst>
              <a:ext uri="{FF2B5EF4-FFF2-40B4-BE49-F238E27FC236}">
                <a16:creationId xmlns:a16="http://schemas.microsoft.com/office/drawing/2014/main" id="{F7B21894-F470-4EAA-9A71-2F56FED79727}"/>
              </a:ext>
            </a:extLst>
          </p:cNvPr>
          <p:cNvGrpSpPr>
            <a:grpSpLocks/>
          </p:cNvGrpSpPr>
          <p:nvPr/>
        </p:nvGrpSpPr>
        <p:grpSpPr bwMode="auto">
          <a:xfrm>
            <a:off x="9429600" y="2635688"/>
            <a:ext cx="2438400" cy="1295400"/>
            <a:chOff x="480" y="2208"/>
            <a:chExt cx="1536" cy="816"/>
          </a:xfrm>
        </p:grpSpPr>
        <p:sp>
          <p:nvSpPr>
            <p:cNvPr id="29" name="Rectangle 133">
              <a:extLst>
                <a:ext uri="{FF2B5EF4-FFF2-40B4-BE49-F238E27FC236}">
                  <a16:creationId xmlns:a16="http://schemas.microsoft.com/office/drawing/2014/main" id="{6F6F628D-0213-47CA-88A8-3746ABD875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208"/>
              <a:ext cx="1536" cy="81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Text Box 134">
              <a:extLst>
                <a:ext uri="{FF2B5EF4-FFF2-40B4-BE49-F238E27FC236}">
                  <a16:creationId xmlns:a16="http://schemas.microsoft.com/office/drawing/2014/main" id="{7E054BFA-ADA6-4C15-A7D7-B0A18AD1F7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9" y="2246"/>
              <a:ext cx="70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:Customer</a:t>
              </a:r>
            </a:p>
          </p:txBody>
        </p:sp>
        <p:sp>
          <p:nvSpPr>
            <p:cNvPr id="31" name="Rectangle 135">
              <a:extLst>
                <a:ext uri="{FF2B5EF4-FFF2-40B4-BE49-F238E27FC236}">
                  <a16:creationId xmlns:a16="http://schemas.microsoft.com/office/drawing/2014/main" id="{06643624-664F-4A27-8217-76AE79CA1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496"/>
              <a:ext cx="1536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Text Box 136">
              <a:extLst>
                <a:ext uri="{FF2B5EF4-FFF2-40B4-BE49-F238E27FC236}">
                  <a16:creationId xmlns:a16="http://schemas.microsoft.com/office/drawing/2014/main" id="{E6300838-7553-4AC8-AF56-7B5DD89657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" y="2496"/>
              <a:ext cx="1230" cy="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name = „Kim Wills“ </a:t>
              </a:r>
            </a:p>
            <a:p>
              <a:r>
                <a:rPr lang="de-DE" sz="1600"/>
                <a:t>birthday</a:t>
              </a:r>
            </a:p>
            <a:p>
              <a:r>
                <a:rPr lang="de-DE" sz="1600"/>
                <a:t>age = 28</a:t>
              </a:r>
            </a:p>
          </p:txBody>
        </p:sp>
      </p:grpSp>
      <p:grpSp>
        <p:nvGrpSpPr>
          <p:cNvPr id="33" name="Group 140">
            <a:extLst>
              <a:ext uri="{FF2B5EF4-FFF2-40B4-BE49-F238E27FC236}">
                <a16:creationId xmlns:a16="http://schemas.microsoft.com/office/drawing/2014/main" id="{50BB06B9-9FA4-4899-962D-AAC1E3DE27F8}"/>
              </a:ext>
            </a:extLst>
          </p:cNvPr>
          <p:cNvGrpSpPr>
            <a:grpSpLocks/>
          </p:cNvGrpSpPr>
          <p:nvPr/>
        </p:nvGrpSpPr>
        <p:grpSpPr bwMode="auto">
          <a:xfrm>
            <a:off x="7407095" y="3898900"/>
            <a:ext cx="1219200" cy="412750"/>
            <a:chOff x="3504" y="2592"/>
            <a:chExt cx="768" cy="260"/>
          </a:xfrm>
        </p:grpSpPr>
        <p:sp>
          <p:nvSpPr>
            <p:cNvPr id="34" name="Text Box 141">
              <a:extLst>
                <a:ext uri="{FF2B5EF4-FFF2-40B4-BE49-F238E27FC236}">
                  <a16:creationId xmlns:a16="http://schemas.microsoft.com/office/drawing/2014/main" id="{21D1D52A-6E42-4409-9B66-9B75261F7E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5" y="2616"/>
              <a:ext cx="70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:Customer</a:t>
              </a:r>
            </a:p>
          </p:txBody>
        </p:sp>
        <p:sp>
          <p:nvSpPr>
            <p:cNvPr id="35" name="Rectangle 142">
              <a:extLst>
                <a:ext uri="{FF2B5EF4-FFF2-40B4-BE49-F238E27FC236}">
                  <a16:creationId xmlns:a16="http://schemas.microsoft.com/office/drawing/2014/main" id="{21318EA8-3F38-4BF5-8F13-76500AC27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6" name="Group 143">
            <a:extLst>
              <a:ext uri="{FF2B5EF4-FFF2-40B4-BE49-F238E27FC236}">
                <a16:creationId xmlns:a16="http://schemas.microsoft.com/office/drawing/2014/main" id="{0A08B638-2637-4E53-B3CC-42AF4B58AF6B}"/>
              </a:ext>
            </a:extLst>
          </p:cNvPr>
          <p:cNvGrpSpPr>
            <a:grpSpLocks/>
          </p:cNvGrpSpPr>
          <p:nvPr/>
        </p:nvGrpSpPr>
        <p:grpSpPr bwMode="auto">
          <a:xfrm>
            <a:off x="7394395" y="4965700"/>
            <a:ext cx="1677988" cy="412750"/>
            <a:chOff x="3504" y="2592"/>
            <a:chExt cx="768" cy="260"/>
          </a:xfrm>
        </p:grpSpPr>
        <p:sp>
          <p:nvSpPr>
            <p:cNvPr id="37" name="Text Box 144">
              <a:extLst>
                <a:ext uri="{FF2B5EF4-FFF2-40B4-BE49-F238E27FC236}">
                  <a16:creationId xmlns:a16="http://schemas.microsoft.com/office/drawing/2014/main" id="{18F1EC2F-479D-4103-A56F-544A1CF08D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1" y="2616"/>
              <a:ext cx="71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tony::Customer</a:t>
              </a:r>
            </a:p>
          </p:txBody>
        </p:sp>
        <p:sp>
          <p:nvSpPr>
            <p:cNvPr id="38" name="Rectangle 145">
              <a:extLst>
                <a:ext uri="{FF2B5EF4-FFF2-40B4-BE49-F238E27FC236}">
                  <a16:creationId xmlns:a16="http://schemas.microsoft.com/office/drawing/2014/main" id="{8D6F2034-04A1-4290-A81E-9640DCBA55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9" name="Group 146">
            <a:extLst>
              <a:ext uri="{FF2B5EF4-FFF2-40B4-BE49-F238E27FC236}">
                <a16:creationId xmlns:a16="http://schemas.microsoft.com/office/drawing/2014/main" id="{DA1EA3BC-3336-4642-A2F0-B45412050411}"/>
              </a:ext>
            </a:extLst>
          </p:cNvPr>
          <p:cNvGrpSpPr>
            <a:grpSpLocks/>
          </p:cNvGrpSpPr>
          <p:nvPr/>
        </p:nvGrpSpPr>
        <p:grpSpPr bwMode="auto">
          <a:xfrm>
            <a:off x="7407095" y="4432300"/>
            <a:ext cx="1219200" cy="412750"/>
            <a:chOff x="3504" y="2592"/>
            <a:chExt cx="768" cy="260"/>
          </a:xfrm>
        </p:grpSpPr>
        <p:sp>
          <p:nvSpPr>
            <p:cNvPr id="40" name="Text Box 147">
              <a:extLst>
                <a:ext uri="{FF2B5EF4-FFF2-40B4-BE49-F238E27FC236}">
                  <a16:creationId xmlns:a16="http://schemas.microsoft.com/office/drawing/2014/main" id="{1C17DE6C-AF95-49B9-9A38-AC3973D5E6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0" y="2616"/>
              <a:ext cx="358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tony</a:t>
              </a:r>
            </a:p>
          </p:txBody>
        </p:sp>
        <p:sp>
          <p:nvSpPr>
            <p:cNvPr id="41" name="Rectangle 148">
              <a:extLst>
                <a:ext uri="{FF2B5EF4-FFF2-40B4-BE49-F238E27FC236}">
                  <a16:creationId xmlns:a16="http://schemas.microsoft.com/office/drawing/2014/main" id="{65083AA2-208E-42AF-BB3C-1D96EFC75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9922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7405A4F-A802-4512-B75A-E5FD9E92F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diagramm - Beispiel</a:t>
            </a:r>
          </a:p>
        </p:txBody>
      </p:sp>
      <p:grpSp>
        <p:nvGrpSpPr>
          <p:cNvPr id="4" name="Group 1080">
            <a:extLst>
              <a:ext uri="{FF2B5EF4-FFF2-40B4-BE49-F238E27FC236}">
                <a16:creationId xmlns:a16="http://schemas.microsoft.com/office/drawing/2014/main" id="{8D5DA5D4-389A-4124-B520-6F51C045D453}"/>
              </a:ext>
            </a:extLst>
          </p:cNvPr>
          <p:cNvGrpSpPr>
            <a:grpSpLocks/>
          </p:cNvGrpSpPr>
          <p:nvPr/>
        </p:nvGrpSpPr>
        <p:grpSpPr bwMode="auto">
          <a:xfrm>
            <a:off x="6321972" y="1957551"/>
            <a:ext cx="1600200" cy="838200"/>
            <a:chOff x="3792" y="3216"/>
            <a:chExt cx="1008" cy="528"/>
          </a:xfrm>
        </p:grpSpPr>
        <p:sp>
          <p:nvSpPr>
            <p:cNvPr id="5" name="Rectangle 1076">
              <a:extLst>
                <a:ext uri="{FF2B5EF4-FFF2-40B4-BE49-F238E27FC236}">
                  <a16:creationId xmlns:a16="http://schemas.microsoft.com/office/drawing/2014/main" id="{B4A611D3-9BF6-451B-9291-3EFB0A70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216"/>
              <a:ext cx="1008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" name="Text Box 1077">
              <a:extLst>
                <a:ext uri="{FF2B5EF4-FFF2-40B4-BE49-F238E27FC236}">
                  <a16:creationId xmlns:a16="http://schemas.microsoft.com/office/drawing/2014/main" id="{AC650A49-E6BE-4B84-857F-98D38A1ABA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39" y="3254"/>
              <a:ext cx="920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0.11.37:Room</a:t>
              </a:r>
            </a:p>
          </p:txBody>
        </p:sp>
        <p:sp>
          <p:nvSpPr>
            <p:cNvPr id="7" name="Rectangle 1078">
              <a:extLst>
                <a:ext uri="{FF2B5EF4-FFF2-40B4-BE49-F238E27FC236}">
                  <a16:creationId xmlns:a16="http://schemas.microsoft.com/office/drawing/2014/main" id="{7FFD0F93-2DBA-4018-936D-B1F4A9E68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504"/>
              <a:ext cx="1008" cy="24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Text Box 1079">
              <a:extLst>
                <a:ext uri="{FF2B5EF4-FFF2-40B4-BE49-F238E27FC236}">
                  <a16:creationId xmlns:a16="http://schemas.microsoft.com/office/drawing/2014/main" id="{EB354647-1754-46D4-AE6F-A3FCDFB10C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2" y="3504"/>
              <a:ext cx="882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type = „Pool“ </a:t>
              </a:r>
            </a:p>
          </p:txBody>
        </p:sp>
      </p:grpSp>
      <p:grpSp>
        <p:nvGrpSpPr>
          <p:cNvPr id="9" name="Group 1081">
            <a:extLst>
              <a:ext uri="{FF2B5EF4-FFF2-40B4-BE49-F238E27FC236}">
                <a16:creationId xmlns:a16="http://schemas.microsoft.com/office/drawing/2014/main" id="{5A8AF42D-E249-4F89-AD02-DB9A7BD2C775}"/>
              </a:ext>
            </a:extLst>
          </p:cNvPr>
          <p:cNvGrpSpPr>
            <a:grpSpLocks/>
          </p:cNvGrpSpPr>
          <p:nvPr/>
        </p:nvGrpSpPr>
        <p:grpSpPr bwMode="auto">
          <a:xfrm>
            <a:off x="9908135" y="1957551"/>
            <a:ext cx="1671637" cy="838200"/>
            <a:chOff x="3792" y="3216"/>
            <a:chExt cx="1053" cy="528"/>
          </a:xfrm>
        </p:grpSpPr>
        <p:sp>
          <p:nvSpPr>
            <p:cNvPr id="10" name="Rectangle 1082">
              <a:extLst>
                <a:ext uri="{FF2B5EF4-FFF2-40B4-BE49-F238E27FC236}">
                  <a16:creationId xmlns:a16="http://schemas.microsoft.com/office/drawing/2014/main" id="{9DC87070-6B30-4E6C-B88E-AA257E7FD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216"/>
              <a:ext cx="1008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Text Box 1083">
              <a:extLst>
                <a:ext uri="{FF2B5EF4-FFF2-40B4-BE49-F238E27FC236}">
                  <a16:creationId xmlns:a16="http://schemas.microsoft.com/office/drawing/2014/main" id="{B574E90D-0B0D-4F95-90AA-73B8669D65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39" y="3254"/>
              <a:ext cx="920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0.11.35:Room</a:t>
              </a:r>
            </a:p>
          </p:txBody>
        </p:sp>
        <p:sp>
          <p:nvSpPr>
            <p:cNvPr id="12" name="Rectangle 1084">
              <a:extLst>
                <a:ext uri="{FF2B5EF4-FFF2-40B4-BE49-F238E27FC236}">
                  <a16:creationId xmlns:a16="http://schemas.microsoft.com/office/drawing/2014/main" id="{056710CE-D47F-412E-9894-297A99BBB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504"/>
              <a:ext cx="1008" cy="24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Text Box 1085">
              <a:extLst>
                <a:ext uri="{FF2B5EF4-FFF2-40B4-BE49-F238E27FC236}">
                  <a16:creationId xmlns:a16="http://schemas.microsoft.com/office/drawing/2014/main" id="{317E6E42-2FC1-4067-9D65-165EE49A1C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2" y="3504"/>
              <a:ext cx="1053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type = „Kitchen“ </a:t>
              </a:r>
            </a:p>
          </p:txBody>
        </p:sp>
      </p:grpSp>
      <p:sp>
        <p:nvSpPr>
          <p:cNvPr id="14" name="Line 1086">
            <a:extLst>
              <a:ext uri="{FF2B5EF4-FFF2-40B4-BE49-F238E27FC236}">
                <a16:creationId xmlns:a16="http://schemas.microsoft.com/office/drawing/2014/main" id="{E516F7A9-1F85-4036-BF82-C77E87E0D9D4}"/>
              </a:ext>
            </a:extLst>
          </p:cNvPr>
          <p:cNvSpPr>
            <a:spLocks noChangeShapeType="1"/>
          </p:cNvSpPr>
          <p:nvPr/>
        </p:nvSpPr>
        <p:spPr bwMode="auto">
          <a:xfrm>
            <a:off x="5026572" y="2338551"/>
            <a:ext cx="1295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15" name="Text Box 1087">
            <a:extLst>
              <a:ext uri="{FF2B5EF4-FFF2-40B4-BE49-F238E27FC236}">
                <a16:creationId xmlns:a16="http://schemas.microsoft.com/office/drawing/2014/main" id="{80A411B0-6E8C-4624-A3B0-69CAF98B97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6747" y="2019464"/>
            <a:ext cx="8604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usedBy</a:t>
            </a:r>
          </a:p>
        </p:txBody>
      </p:sp>
      <p:grpSp>
        <p:nvGrpSpPr>
          <p:cNvPr id="16" name="Group 1114">
            <a:extLst>
              <a:ext uri="{FF2B5EF4-FFF2-40B4-BE49-F238E27FC236}">
                <a16:creationId xmlns:a16="http://schemas.microsoft.com/office/drawing/2014/main" id="{1B0E9444-3788-47A2-B52D-6F2638B5D3B7}"/>
              </a:ext>
            </a:extLst>
          </p:cNvPr>
          <p:cNvGrpSpPr>
            <a:grpSpLocks/>
          </p:cNvGrpSpPr>
          <p:nvPr/>
        </p:nvGrpSpPr>
        <p:grpSpPr bwMode="auto">
          <a:xfrm>
            <a:off x="6321972" y="3329151"/>
            <a:ext cx="1600200" cy="1295400"/>
            <a:chOff x="1776" y="2592"/>
            <a:chExt cx="1008" cy="816"/>
          </a:xfrm>
        </p:grpSpPr>
        <p:grpSp>
          <p:nvGrpSpPr>
            <p:cNvPr id="17" name="Group 1103">
              <a:extLst>
                <a:ext uri="{FF2B5EF4-FFF2-40B4-BE49-F238E27FC236}">
                  <a16:creationId xmlns:a16="http://schemas.microsoft.com/office/drawing/2014/main" id="{A2345842-BDE6-40D8-AFF7-700D3531F20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76" y="2880"/>
              <a:ext cx="1008" cy="528"/>
              <a:chOff x="3792" y="3216"/>
              <a:chExt cx="1008" cy="528"/>
            </a:xfrm>
          </p:grpSpPr>
          <p:sp>
            <p:nvSpPr>
              <p:cNvPr id="19" name="Rectangle 1104">
                <a:extLst>
                  <a:ext uri="{FF2B5EF4-FFF2-40B4-BE49-F238E27FC236}">
                    <a16:creationId xmlns:a16="http://schemas.microsoft.com/office/drawing/2014/main" id="{3BA0B3A4-8899-4729-99F6-8E7E7B302E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Text Box 1105">
                <a:extLst>
                  <a:ext uri="{FF2B5EF4-FFF2-40B4-BE49-F238E27FC236}">
                    <a16:creationId xmlns:a16="http://schemas.microsoft.com/office/drawing/2014/main" id="{0E9F31E2-FC0B-40B3-A531-14021C40BA2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80" y="3254"/>
                <a:ext cx="642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left:Table</a:t>
                </a:r>
                <a:endParaRPr lang="en-US" altLang="de-DE" sz="1600" u="sng" dirty="0"/>
              </a:p>
            </p:txBody>
          </p:sp>
          <p:sp>
            <p:nvSpPr>
              <p:cNvPr id="21" name="Rectangle 1106">
                <a:extLst>
                  <a:ext uri="{FF2B5EF4-FFF2-40B4-BE49-F238E27FC236}">
                    <a16:creationId xmlns:a16="http://schemas.microsoft.com/office/drawing/2014/main" id="{4F759E49-227F-42E3-992C-6ED610FDD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Text Box 1107">
                <a:extLst>
                  <a:ext uri="{FF2B5EF4-FFF2-40B4-BE49-F238E27FC236}">
                    <a16:creationId xmlns:a16="http://schemas.microsoft.com/office/drawing/2014/main" id="{C579CC7B-E6AF-4196-84A6-2F9A6C939D9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25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 dirty="0" err="1"/>
                  <a:t>color</a:t>
                </a:r>
                <a:r>
                  <a:rPr lang="de-DE" sz="1600" dirty="0"/>
                  <a:t> = </a:t>
                </a:r>
                <a:r>
                  <a:rPr lang="de-DE" sz="1600" dirty="0" err="1"/>
                  <a:t>grey</a:t>
                </a:r>
                <a:r>
                  <a:rPr lang="de-DE" sz="1600" dirty="0"/>
                  <a:t> </a:t>
                </a:r>
              </a:p>
            </p:txBody>
          </p:sp>
        </p:grpSp>
        <p:sp>
          <p:nvSpPr>
            <p:cNvPr id="18" name="Line 1108">
              <a:extLst>
                <a:ext uri="{FF2B5EF4-FFF2-40B4-BE49-F238E27FC236}">
                  <a16:creationId xmlns:a16="http://schemas.microsoft.com/office/drawing/2014/main" id="{1C47B567-F8A1-41F1-B007-AA9DD7381D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80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grpSp>
        <p:nvGrpSpPr>
          <p:cNvPr id="23" name="Group 1115">
            <a:extLst>
              <a:ext uri="{FF2B5EF4-FFF2-40B4-BE49-F238E27FC236}">
                <a16:creationId xmlns:a16="http://schemas.microsoft.com/office/drawing/2014/main" id="{B45416A1-CE3F-4067-9352-33BD4311834B}"/>
              </a:ext>
            </a:extLst>
          </p:cNvPr>
          <p:cNvGrpSpPr>
            <a:grpSpLocks/>
          </p:cNvGrpSpPr>
          <p:nvPr/>
        </p:nvGrpSpPr>
        <p:grpSpPr bwMode="auto">
          <a:xfrm>
            <a:off x="8684172" y="3329151"/>
            <a:ext cx="1600200" cy="1295400"/>
            <a:chOff x="3246" y="2592"/>
            <a:chExt cx="1008" cy="816"/>
          </a:xfrm>
        </p:grpSpPr>
        <p:grpSp>
          <p:nvGrpSpPr>
            <p:cNvPr id="24" name="Group 1093">
              <a:extLst>
                <a:ext uri="{FF2B5EF4-FFF2-40B4-BE49-F238E27FC236}">
                  <a16:creationId xmlns:a16="http://schemas.microsoft.com/office/drawing/2014/main" id="{3F053421-E06E-4B30-8576-4AEA6EE73A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46" y="2880"/>
              <a:ext cx="1008" cy="528"/>
              <a:chOff x="3792" y="3216"/>
              <a:chExt cx="1008" cy="528"/>
            </a:xfrm>
          </p:grpSpPr>
          <p:sp>
            <p:nvSpPr>
              <p:cNvPr id="26" name="Rectangle 1094">
                <a:extLst>
                  <a:ext uri="{FF2B5EF4-FFF2-40B4-BE49-F238E27FC236}">
                    <a16:creationId xmlns:a16="http://schemas.microsoft.com/office/drawing/2014/main" id="{42A24718-3B69-4F8F-B3F4-2D9AF0DD0F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Text Box 1095">
                <a:extLst>
                  <a:ext uri="{FF2B5EF4-FFF2-40B4-BE49-F238E27FC236}">
                    <a16:creationId xmlns:a16="http://schemas.microsoft.com/office/drawing/2014/main" id="{FAABFCBD-45F8-4A75-A045-317294AF1C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17" y="3254"/>
                <a:ext cx="770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de-DE" altLang="de-DE" sz="1600" u="sng"/>
                  <a:t>aula</a:t>
                </a:r>
                <a:r>
                  <a:rPr lang="en-US" altLang="de-DE" sz="1600" u="sng"/>
                  <a:t>:Printer</a:t>
                </a:r>
              </a:p>
            </p:txBody>
          </p:sp>
          <p:sp>
            <p:nvSpPr>
              <p:cNvPr id="28" name="Rectangle 1096">
                <a:extLst>
                  <a:ext uri="{FF2B5EF4-FFF2-40B4-BE49-F238E27FC236}">
                    <a16:creationId xmlns:a16="http://schemas.microsoft.com/office/drawing/2014/main" id="{753CEE84-6A86-451A-9562-7FA5B2DB3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Text Box 1097">
                <a:extLst>
                  <a:ext uri="{FF2B5EF4-FFF2-40B4-BE49-F238E27FC236}">
                    <a16:creationId xmlns:a16="http://schemas.microsoft.com/office/drawing/2014/main" id="{431E31A8-1A2A-4AF0-B329-B17C42A1330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682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/>
                  <a:t>type = HP</a:t>
                </a:r>
              </a:p>
            </p:txBody>
          </p:sp>
        </p:grpSp>
        <p:sp>
          <p:nvSpPr>
            <p:cNvPr id="25" name="Line 1109">
              <a:extLst>
                <a:ext uri="{FF2B5EF4-FFF2-40B4-BE49-F238E27FC236}">
                  <a16:creationId xmlns:a16="http://schemas.microsoft.com/office/drawing/2014/main" id="{F8006683-B055-4B1A-8B5C-5A001AFE03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3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grpSp>
        <p:nvGrpSpPr>
          <p:cNvPr id="30" name="Group 1113">
            <a:extLst>
              <a:ext uri="{FF2B5EF4-FFF2-40B4-BE49-F238E27FC236}">
                <a16:creationId xmlns:a16="http://schemas.microsoft.com/office/drawing/2014/main" id="{7CC21EB5-4EFF-49E0-AFA2-5CCF473367F2}"/>
              </a:ext>
            </a:extLst>
          </p:cNvPr>
          <p:cNvGrpSpPr>
            <a:grpSpLocks/>
          </p:cNvGrpSpPr>
          <p:nvPr/>
        </p:nvGrpSpPr>
        <p:grpSpPr bwMode="auto">
          <a:xfrm>
            <a:off x="3959772" y="3329151"/>
            <a:ext cx="1600200" cy="1295400"/>
            <a:chOff x="288" y="2592"/>
            <a:chExt cx="1008" cy="816"/>
          </a:xfrm>
        </p:grpSpPr>
        <p:grpSp>
          <p:nvGrpSpPr>
            <p:cNvPr id="31" name="Group 1088">
              <a:extLst>
                <a:ext uri="{FF2B5EF4-FFF2-40B4-BE49-F238E27FC236}">
                  <a16:creationId xmlns:a16="http://schemas.microsoft.com/office/drawing/2014/main" id="{3DD57465-A789-4CB2-B7DF-6D24929F34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8" y="2880"/>
              <a:ext cx="1008" cy="528"/>
              <a:chOff x="3792" y="3216"/>
              <a:chExt cx="1008" cy="528"/>
            </a:xfrm>
          </p:grpSpPr>
          <p:sp>
            <p:nvSpPr>
              <p:cNvPr id="33" name="Rectangle 1089">
                <a:extLst>
                  <a:ext uri="{FF2B5EF4-FFF2-40B4-BE49-F238E27FC236}">
                    <a16:creationId xmlns:a16="http://schemas.microsoft.com/office/drawing/2014/main" id="{05EFA671-5420-46F0-A769-9D676D26A9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Text Box 1090">
                <a:extLst>
                  <a:ext uri="{FF2B5EF4-FFF2-40B4-BE49-F238E27FC236}">
                    <a16:creationId xmlns:a16="http://schemas.microsoft.com/office/drawing/2014/main" id="{7771B892-4933-4770-8A51-27081140994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41" y="3254"/>
                <a:ext cx="720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/>
                  <a:t>right:Table</a:t>
                </a:r>
              </a:p>
            </p:txBody>
          </p:sp>
          <p:sp>
            <p:nvSpPr>
              <p:cNvPr id="35" name="Rectangle 1091">
                <a:extLst>
                  <a:ext uri="{FF2B5EF4-FFF2-40B4-BE49-F238E27FC236}">
                    <a16:creationId xmlns:a16="http://schemas.microsoft.com/office/drawing/2014/main" id="{A0CD2BCC-8B7C-4F59-AC2A-63F4B21C47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Text Box 1092">
                <a:extLst>
                  <a:ext uri="{FF2B5EF4-FFF2-40B4-BE49-F238E27FC236}">
                    <a16:creationId xmlns:a16="http://schemas.microsoft.com/office/drawing/2014/main" id="{E8D7321B-26B1-4A89-B800-BBD99D59DC3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25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/>
                  <a:t>color = grey </a:t>
                </a:r>
              </a:p>
            </p:txBody>
          </p:sp>
        </p:grpSp>
        <p:sp>
          <p:nvSpPr>
            <p:cNvPr id="32" name="Line 1110">
              <a:extLst>
                <a:ext uri="{FF2B5EF4-FFF2-40B4-BE49-F238E27FC236}">
                  <a16:creationId xmlns:a16="http://schemas.microsoft.com/office/drawing/2014/main" id="{30471395-AB40-428F-9982-2CCCB1525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sp>
        <p:nvSpPr>
          <p:cNvPr id="37" name="Line 1112">
            <a:extLst>
              <a:ext uri="{FF2B5EF4-FFF2-40B4-BE49-F238E27FC236}">
                <a16:creationId xmlns:a16="http://schemas.microsoft.com/office/drawing/2014/main" id="{EBDC3258-E6D0-4383-9A80-428C35FE4706}"/>
              </a:ext>
            </a:extLst>
          </p:cNvPr>
          <p:cNvSpPr>
            <a:spLocks noChangeShapeType="1"/>
          </p:cNvSpPr>
          <p:nvPr/>
        </p:nvSpPr>
        <p:spPr bwMode="auto">
          <a:xfrm>
            <a:off x="4797972" y="3329151"/>
            <a:ext cx="4724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38" name="AutoShape 1116">
            <a:extLst>
              <a:ext uri="{FF2B5EF4-FFF2-40B4-BE49-F238E27FC236}">
                <a16:creationId xmlns:a16="http://schemas.microsoft.com/office/drawing/2014/main" id="{7A6C85C6-A0D4-4781-B120-3ABF3F9905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7935" y="2795751"/>
            <a:ext cx="168275" cy="252413"/>
          </a:xfrm>
          <a:prstGeom prst="diamond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39" name="Line 1117">
            <a:extLst>
              <a:ext uri="{FF2B5EF4-FFF2-40B4-BE49-F238E27FC236}">
                <a16:creationId xmlns:a16="http://schemas.microsoft.com/office/drawing/2014/main" id="{09835D36-E600-42CD-BF59-C2D3B49D2365}"/>
              </a:ext>
            </a:extLst>
          </p:cNvPr>
          <p:cNvSpPr>
            <a:spLocks noChangeShapeType="1"/>
          </p:cNvSpPr>
          <p:nvPr/>
        </p:nvSpPr>
        <p:spPr bwMode="auto">
          <a:xfrm>
            <a:off x="7122072" y="3024351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de-DE"/>
          </a:p>
        </p:txBody>
      </p:sp>
      <p:grpSp>
        <p:nvGrpSpPr>
          <p:cNvPr id="40" name="Group 1118">
            <a:extLst>
              <a:ext uri="{FF2B5EF4-FFF2-40B4-BE49-F238E27FC236}">
                <a16:creationId xmlns:a16="http://schemas.microsoft.com/office/drawing/2014/main" id="{1DAD7909-0305-4D04-B7D2-862C6EE0D6EE}"/>
              </a:ext>
            </a:extLst>
          </p:cNvPr>
          <p:cNvGrpSpPr>
            <a:grpSpLocks/>
          </p:cNvGrpSpPr>
          <p:nvPr/>
        </p:nvGrpSpPr>
        <p:grpSpPr bwMode="auto">
          <a:xfrm>
            <a:off x="3348585" y="2078201"/>
            <a:ext cx="1677987" cy="412750"/>
            <a:chOff x="3504" y="2592"/>
            <a:chExt cx="768" cy="260"/>
          </a:xfrm>
        </p:grpSpPr>
        <p:sp>
          <p:nvSpPr>
            <p:cNvPr id="41" name="Text Box 1119">
              <a:extLst>
                <a:ext uri="{FF2B5EF4-FFF2-40B4-BE49-F238E27FC236}">
                  <a16:creationId xmlns:a16="http://schemas.microsoft.com/office/drawing/2014/main" id="{44799B4C-F08F-4545-B5FB-45D0EAC417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45" y="2616"/>
              <a:ext cx="69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 dirty="0" err="1"/>
                <a:t>ines:Employee</a:t>
              </a:r>
              <a:endParaRPr lang="en-US" altLang="de-DE" sz="1600" u="sng" dirty="0"/>
            </a:p>
          </p:txBody>
        </p:sp>
        <p:sp>
          <p:nvSpPr>
            <p:cNvPr id="42" name="Rectangle 1120">
              <a:extLst>
                <a:ext uri="{FF2B5EF4-FFF2-40B4-BE49-F238E27FC236}">
                  <a16:creationId xmlns:a16="http://schemas.microsoft.com/office/drawing/2014/main" id="{F7DBABC3-84B8-4C0E-9010-893A9F5104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3" name="Line 1121">
            <a:extLst>
              <a:ext uri="{FF2B5EF4-FFF2-40B4-BE49-F238E27FC236}">
                <a16:creationId xmlns:a16="http://schemas.microsoft.com/office/drawing/2014/main" id="{35834BB1-C4E6-4D4B-8D68-75221F9EFC1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2172" y="2338551"/>
            <a:ext cx="1985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44" name="Text Box 1122">
            <a:extLst>
              <a:ext uri="{FF2B5EF4-FFF2-40B4-BE49-F238E27FC236}">
                <a16:creationId xmlns:a16="http://schemas.microsoft.com/office/drawing/2014/main" id="{80AA1F70-57D0-4A30-9234-CAEE680F2F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1122" y="2019464"/>
            <a:ext cx="8826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besides</a:t>
            </a:r>
          </a:p>
        </p:txBody>
      </p:sp>
    </p:spTree>
    <p:extLst>
      <p:ext uri="{BB962C8B-B14F-4D97-AF65-F5344CB8AC3E}">
        <p14:creationId xmlns:p14="http://schemas.microsoft.com/office/powerpoint/2010/main" val="2387644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F2CB11A-6414-4C16-8D74-628798FC41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151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446BFEE-6473-43F6-A80D-F4AFF4AE52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CAB71E-1ADA-48BA-B148-E2E8A6652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gure 1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188089CE-E13C-4BEC-A7DC-5BEFE50D3394}"/>
              </a:ext>
            </a:extLst>
          </p:cNvPr>
          <p:cNvGrpSpPr/>
          <p:nvPr/>
        </p:nvGrpSpPr>
        <p:grpSpPr>
          <a:xfrm>
            <a:off x="2938463" y="1219200"/>
            <a:ext cx="6315075" cy="4152900"/>
            <a:chOff x="990600" y="1219200"/>
            <a:chExt cx="6315075" cy="4152900"/>
          </a:xfrm>
        </p:grpSpPr>
        <p:grpSp>
          <p:nvGrpSpPr>
            <p:cNvPr id="23" name="Group 1103">
              <a:extLst>
                <a:ext uri="{FF2B5EF4-FFF2-40B4-BE49-F238E27FC236}">
                  <a16:creationId xmlns:a16="http://schemas.microsoft.com/office/drawing/2014/main" id="{BCC99958-463A-4871-9A1E-E6C644CAF7D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6172" y="1881351"/>
              <a:ext cx="2603495" cy="1062038"/>
              <a:chOff x="3792" y="3216"/>
              <a:chExt cx="1616" cy="669"/>
            </a:xfrm>
          </p:grpSpPr>
          <p:sp>
            <p:nvSpPr>
              <p:cNvPr id="24" name="Rectangle 1104">
                <a:extLst>
                  <a:ext uri="{FF2B5EF4-FFF2-40B4-BE49-F238E27FC236}">
                    <a16:creationId xmlns:a16="http://schemas.microsoft.com/office/drawing/2014/main" id="{E8A8848B-5269-4268-B29F-2F35AE4DA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616" cy="66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5" name="Text Box 1105">
                <a:extLst>
                  <a:ext uri="{FF2B5EF4-FFF2-40B4-BE49-F238E27FC236}">
                    <a16:creationId xmlns:a16="http://schemas.microsoft.com/office/drawing/2014/main" id="{F03E4950-ECC0-4196-BE12-E83A32EE212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17" y="3254"/>
                <a:ext cx="765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bob:Person</a:t>
                </a:r>
                <a:endParaRPr lang="en-US" altLang="de-DE" sz="1600" u="sng" dirty="0"/>
              </a:p>
            </p:txBody>
          </p:sp>
          <p:sp>
            <p:nvSpPr>
              <p:cNvPr id="26" name="Rectangle 1106">
                <a:extLst>
                  <a:ext uri="{FF2B5EF4-FFF2-40B4-BE49-F238E27FC236}">
                    <a16:creationId xmlns:a16="http://schemas.microsoft.com/office/drawing/2014/main" id="{01C9949C-0CCA-407C-A26F-2747A8420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616" cy="38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7" name="Text Box 1107">
                <a:extLst>
                  <a:ext uri="{FF2B5EF4-FFF2-40B4-BE49-F238E27FC236}">
                    <a16:creationId xmlns:a16="http://schemas.microsoft.com/office/drawing/2014/main" id="{7F73CC83-AFF5-4FB8-99CA-89146112CA7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1616" cy="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en-US" sz="1600"/>
                  <a:t>nickname = </a:t>
                </a:r>
              </a:p>
              <a:p>
                <a:r>
                  <a:rPr lang="en-US" sz="1600"/>
                  <a:t>  [„Bob“, „Bobby“, „Robert“]</a:t>
                </a:r>
                <a:endParaRPr lang="en-US" sz="1600" dirty="0"/>
              </a:p>
            </p:txBody>
          </p:sp>
        </p:grpSp>
        <p:grpSp>
          <p:nvGrpSpPr>
            <p:cNvPr id="7" name="Group 1103">
              <a:extLst>
                <a:ext uri="{FF2B5EF4-FFF2-40B4-BE49-F238E27FC236}">
                  <a16:creationId xmlns:a16="http://schemas.microsoft.com/office/drawing/2014/main" id="{374E3194-4AE9-40DD-86F9-37B7F284C9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19772" y="1881351"/>
              <a:ext cx="1600200" cy="838200"/>
              <a:chOff x="3792" y="3216"/>
              <a:chExt cx="1008" cy="528"/>
            </a:xfrm>
          </p:grpSpPr>
          <p:sp>
            <p:nvSpPr>
              <p:cNvPr id="9" name="Rectangle 1104">
                <a:extLst>
                  <a:ext uri="{FF2B5EF4-FFF2-40B4-BE49-F238E27FC236}">
                    <a16:creationId xmlns:a16="http://schemas.microsoft.com/office/drawing/2014/main" id="{F63397D9-F1C8-42F6-A527-74AF2A451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0" name="Text Box 1105">
                <a:extLst>
                  <a:ext uri="{FF2B5EF4-FFF2-40B4-BE49-F238E27FC236}">
                    <a16:creationId xmlns:a16="http://schemas.microsoft.com/office/drawing/2014/main" id="{DD2B3B6E-F593-4B25-B32B-64EEBEDC06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888" y="3254"/>
                <a:ext cx="826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alice:Person</a:t>
                </a:r>
                <a:endParaRPr lang="en-US" altLang="de-DE" sz="1600" u="sng" dirty="0"/>
              </a:p>
            </p:txBody>
          </p:sp>
          <p:sp>
            <p:nvSpPr>
              <p:cNvPr id="11" name="Rectangle 1106">
                <a:extLst>
                  <a:ext uri="{FF2B5EF4-FFF2-40B4-BE49-F238E27FC236}">
                    <a16:creationId xmlns:a16="http://schemas.microsoft.com/office/drawing/2014/main" id="{E546A851-4D58-4D22-9059-AFAE657EB6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2" name="Text Box 1107">
                <a:extLst>
                  <a:ext uri="{FF2B5EF4-FFF2-40B4-BE49-F238E27FC236}">
                    <a16:creationId xmlns:a16="http://schemas.microsoft.com/office/drawing/2014/main" id="{976600DF-260F-4691-A0BC-CA5A489AF0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623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age = 29</a:t>
                </a:r>
                <a:endParaRPr lang="en-US" sz="1600" dirty="0"/>
              </a:p>
            </p:txBody>
          </p:sp>
        </p:grpSp>
        <p:grpSp>
          <p:nvGrpSpPr>
            <p:cNvPr id="13" name="Group 1103">
              <a:extLst>
                <a:ext uri="{FF2B5EF4-FFF2-40B4-BE49-F238E27FC236}">
                  <a16:creationId xmlns:a16="http://schemas.microsoft.com/office/drawing/2014/main" id="{8C6A1BA6-EECC-4F79-A388-6418D865BA7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19772" y="4072648"/>
              <a:ext cx="1600200" cy="838200"/>
              <a:chOff x="3792" y="3216"/>
              <a:chExt cx="1008" cy="528"/>
            </a:xfrm>
          </p:grpSpPr>
          <p:sp>
            <p:nvSpPr>
              <p:cNvPr id="14" name="Rectangle 1104">
                <a:extLst>
                  <a:ext uri="{FF2B5EF4-FFF2-40B4-BE49-F238E27FC236}">
                    <a16:creationId xmlns:a16="http://schemas.microsoft.com/office/drawing/2014/main" id="{18A7A92E-D2B3-4A72-B57D-B8F99ECDF2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5" name="Text Box 1105">
                <a:extLst>
                  <a:ext uri="{FF2B5EF4-FFF2-40B4-BE49-F238E27FC236}">
                    <a16:creationId xmlns:a16="http://schemas.microsoft.com/office/drawing/2014/main" id="{3FC3E305-3B00-4BB4-AD24-BC5776641CF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67" y="3254"/>
                <a:ext cx="469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/>
                  <a:t>:BMW</a:t>
                </a:r>
              </a:p>
            </p:txBody>
          </p:sp>
          <p:sp>
            <p:nvSpPr>
              <p:cNvPr id="16" name="Rectangle 1106">
                <a:extLst>
                  <a:ext uri="{FF2B5EF4-FFF2-40B4-BE49-F238E27FC236}">
                    <a16:creationId xmlns:a16="http://schemas.microsoft.com/office/drawing/2014/main" id="{F55102EC-943B-43D9-AE2D-1EF096E0FF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7" name="Text Box 1107">
                <a:extLst>
                  <a:ext uri="{FF2B5EF4-FFF2-40B4-BE49-F238E27FC236}">
                    <a16:creationId xmlns:a16="http://schemas.microsoft.com/office/drawing/2014/main" id="{CFD4B098-C074-4DD1-A3CE-D29AFFC8FE6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81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color = BLUE</a:t>
                </a:r>
                <a:endParaRPr lang="en-US" sz="1600" dirty="0"/>
              </a:p>
            </p:txBody>
          </p:sp>
        </p:grpSp>
        <p:grpSp>
          <p:nvGrpSpPr>
            <p:cNvPr id="18" name="Group 1103">
              <a:extLst>
                <a:ext uri="{FF2B5EF4-FFF2-40B4-BE49-F238E27FC236}">
                  <a16:creationId xmlns:a16="http://schemas.microsoft.com/office/drawing/2014/main" id="{2D3FA367-8A60-4967-8948-F5F92B8AFC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37159" y="4072648"/>
              <a:ext cx="1600200" cy="1041400"/>
              <a:chOff x="3792" y="3216"/>
              <a:chExt cx="1008" cy="656"/>
            </a:xfrm>
          </p:grpSpPr>
          <p:sp>
            <p:nvSpPr>
              <p:cNvPr id="19" name="Rectangle 1104">
                <a:extLst>
                  <a:ext uri="{FF2B5EF4-FFF2-40B4-BE49-F238E27FC236}">
                    <a16:creationId xmlns:a16="http://schemas.microsoft.com/office/drawing/2014/main" id="{EB1E278E-D667-43B4-A65C-740A134FB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656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0" name="Text Box 1105">
                <a:extLst>
                  <a:ext uri="{FF2B5EF4-FFF2-40B4-BE49-F238E27FC236}">
                    <a16:creationId xmlns:a16="http://schemas.microsoft.com/office/drawing/2014/main" id="{6315A8D1-F073-4F49-80B6-87B78EF6EE5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02" y="3254"/>
                <a:ext cx="799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tiger:Jaguar</a:t>
                </a:r>
                <a:endParaRPr lang="en-US" altLang="de-DE" sz="1600" u="sng" dirty="0"/>
              </a:p>
            </p:txBody>
          </p:sp>
          <p:sp>
            <p:nvSpPr>
              <p:cNvPr id="21" name="Rectangle 1106">
                <a:extLst>
                  <a:ext uri="{FF2B5EF4-FFF2-40B4-BE49-F238E27FC236}">
                    <a16:creationId xmlns:a16="http://schemas.microsoft.com/office/drawing/2014/main" id="{ED5745B2-AC8D-4BD5-B600-A3C321A65C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36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2" name="Text Box 1107">
                <a:extLst>
                  <a:ext uri="{FF2B5EF4-FFF2-40B4-BE49-F238E27FC236}">
                    <a16:creationId xmlns:a16="http://schemas.microsoft.com/office/drawing/2014/main" id="{585670D9-08D9-4DE0-8278-0E3FAD5BE2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39" cy="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color = RED</a:t>
                </a:r>
              </a:p>
              <a:p>
                <a:r>
                  <a:rPr lang="en-US" sz="1600"/>
                  <a:t>Length = 5.3</a:t>
                </a:r>
                <a:endParaRPr lang="en-US" sz="1600" dirty="0"/>
              </a:p>
            </p:txBody>
          </p:sp>
        </p:grpSp>
        <p:cxnSp>
          <p:nvCxnSpPr>
            <p:cNvPr id="29" name="Gerade Verbindung mit Pfeil 28">
              <a:extLst>
                <a:ext uri="{FF2B5EF4-FFF2-40B4-BE49-F238E27FC236}">
                  <a16:creationId xmlns:a16="http://schemas.microsoft.com/office/drawing/2014/main" id="{E0C2CE83-24BC-4193-B7ED-94A258C038AD}"/>
                </a:ext>
              </a:extLst>
            </p:cNvPr>
            <p:cNvCxnSpPr>
              <a:stCxn id="9" idx="3"/>
            </p:cNvCxnSpPr>
            <p:nvPr/>
          </p:nvCxnSpPr>
          <p:spPr>
            <a:xfrm>
              <a:off x="3019972" y="2300451"/>
              <a:ext cx="1506200" cy="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BAC39007-49B1-4133-BF51-2AB704788C48}"/>
                </a:ext>
              </a:extLst>
            </p:cNvPr>
            <p:cNvCxnSpPr>
              <a:stCxn id="11" idx="2"/>
              <a:endCxn id="14" idx="0"/>
            </p:cNvCxnSpPr>
            <p:nvPr/>
          </p:nvCxnSpPr>
          <p:spPr>
            <a:xfrm>
              <a:off x="2219872" y="2719551"/>
              <a:ext cx="0" cy="1353097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Verbinder: gewinkelt 34">
              <a:extLst>
                <a:ext uri="{FF2B5EF4-FFF2-40B4-BE49-F238E27FC236}">
                  <a16:creationId xmlns:a16="http://schemas.microsoft.com/office/drawing/2014/main" id="{ED7B062E-3289-4F29-A318-FABA3DEFB17A}"/>
                </a:ext>
              </a:extLst>
            </p:cNvPr>
            <p:cNvCxnSpPr/>
            <p:nvPr/>
          </p:nvCxnSpPr>
          <p:spPr>
            <a:xfrm rot="16200000" flipH="1">
              <a:off x="2698592" y="2839319"/>
              <a:ext cx="1353097" cy="1113560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Verbinder: gewinkelt 36">
              <a:extLst>
                <a:ext uri="{FF2B5EF4-FFF2-40B4-BE49-F238E27FC236}">
                  <a16:creationId xmlns:a16="http://schemas.microsoft.com/office/drawing/2014/main" id="{54E54607-C9D1-40CE-90BF-FE829A149B0D}"/>
                </a:ext>
              </a:extLst>
            </p:cNvPr>
            <p:cNvCxnSpPr>
              <a:cxnSpLocks/>
              <a:endCxn id="19" idx="0"/>
            </p:cNvCxnSpPr>
            <p:nvPr/>
          </p:nvCxnSpPr>
          <p:spPr>
            <a:xfrm rot="5400000">
              <a:off x="4209440" y="3071209"/>
              <a:ext cx="1129258" cy="873620"/>
            </a:xfrm>
            <a:prstGeom prst="bentConnector3">
              <a:avLst>
                <a:gd name="adj1" fmla="val 40089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85FFD867-EBC2-4DC4-9472-97C6883B3894}"/>
                </a:ext>
              </a:extLst>
            </p:cNvPr>
            <p:cNvSpPr txBox="1"/>
            <p:nvPr/>
          </p:nvSpPr>
          <p:spPr>
            <a:xfrm>
              <a:off x="3441891" y="2038841"/>
              <a:ext cx="66236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married</a:t>
              </a:r>
              <a:endParaRPr lang="en-US" dirty="0"/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D77ECE67-92F2-4354-B99C-51298CB33777}"/>
                </a:ext>
              </a:extLst>
            </p:cNvPr>
            <p:cNvSpPr txBox="1"/>
            <p:nvPr/>
          </p:nvSpPr>
          <p:spPr>
            <a:xfrm>
              <a:off x="3019972" y="3134489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71939937-A770-48BD-B615-3318E7B904ED}"/>
                </a:ext>
              </a:extLst>
            </p:cNvPr>
            <p:cNvSpPr txBox="1"/>
            <p:nvPr/>
          </p:nvSpPr>
          <p:spPr>
            <a:xfrm>
              <a:off x="4474998" y="3129139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B47C59F-69D6-40B0-8323-FA735D5853D9}"/>
                </a:ext>
              </a:extLst>
            </p:cNvPr>
            <p:cNvSpPr txBox="1"/>
            <p:nvPr/>
          </p:nvSpPr>
          <p:spPr>
            <a:xfrm>
              <a:off x="1783316" y="3168814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50" name="AutoShape 40">
              <a:extLst>
                <a:ext uri="{FF2B5EF4-FFF2-40B4-BE49-F238E27FC236}">
                  <a16:creationId xmlns:a16="http://schemas.microsoft.com/office/drawing/2014/main" id="{AEB08AA0-430C-45A2-A881-BB9458C16EFE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5947763" y="1347951"/>
              <a:ext cx="1306734" cy="304800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600" dirty="0"/>
                <a:t>OD </a:t>
              </a:r>
              <a:r>
                <a:rPr lang="en-US" altLang="de-DE" sz="1600" dirty="0" err="1"/>
                <a:t>MyFamily</a:t>
              </a:r>
              <a:endParaRPr lang="en-US" altLang="de-DE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1DB29645-ECF9-4988-8438-21F090FFBFCB}"/>
                </a:ext>
              </a:extLst>
            </p:cNvPr>
            <p:cNvSpPr/>
            <p:nvPr/>
          </p:nvSpPr>
          <p:spPr>
            <a:xfrm>
              <a:off x="990600" y="1219200"/>
              <a:ext cx="6315075" cy="4152900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131823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612F638-4DFB-48D2-B675-9DCBDAB9FE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373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AB7D1B3-B0E9-409B-BF59-65D96F27DF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5A8F71-C043-484D-949E-954BB8909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gure 2</a:t>
            </a:r>
          </a:p>
        </p:txBody>
      </p: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4E168107-1886-40DF-B127-A690BEE24965}"/>
              </a:ext>
            </a:extLst>
          </p:cNvPr>
          <p:cNvGrpSpPr/>
          <p:nvPr/>
        </p:nvGrpSpPr>
        <p:grpSpPr>
          <a:xfrm>
            <a:off x="2938462" y="1219200"/>
            <a:ext cx="6315075" cy="4152900"/>
            <a:chOff x="2938463" y="1219200"/>
            <a:chExt cx="6315075" cy="4152900"/>
          </a:xfrm>
        </p:grpSpPr>
        <p:sp>
          <p:nvSpPr>
            <p:cNvPr id="19" name="AutoShape 40">
              <a:extLst>
                <a:ext uri="{FF2B5EF4-FFF2-40B4-BE49-F238E27FC236}">
                  <a16:creationId xmlns:a16="http://schemas.microsoft.com/office/drawing/2014/main" id="{02DA3889-1411-4A72-9622-0521CD12A0B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8467930" y="1347951"/>
              <a:ext cx="609600" cy="304800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600" dirty="0"/>
                <a:t>CD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1BF1F23-E2EF-4858-874C-1E7362F42FC9}"/>
                </a:ext>
              </a:extLst>
            </p:cNvPr>
            <p:cNvSpPr/>
            <p:nvPr/>
          </p:nvSpPr>
          <p:spPr>
            <a:xfrm>
              <a:off x="2938463" y="1219200"/>
              <a:ext cx="6315075" cy="4152900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BE9B171D-EED7-4B4C-81E6-EAA06240C1A7}"/>
                </a:ext>
              </a:extLst>
            </p:cNvPr>
            <p:cNvGrpSpPr/>
            <p:nvPr/>
          </p:nvGrpSpPr>
          <p:grpSpPr>
            <a:xfrm>
              <a:off x="3120859" y="4042540"/>
              <a:ext cx="2535302" cy="581853"/>
              <a:chOff x="4458377" y="2728020"/>
              <a:chExt cx="3374487" cy="581853"/>
            </a:xfrm>
          </p:grpSpPr>
          <p:sp>
            <p:nvSpPr>
              <p:cNvPr id="38" name="Rectangle 69">
                <a:extLst>
                  <a:ext uri="{FF2B5EF4-FFF2-40B4-BE49-F238E27FC236}">
                    <a16:creationId xmlns:a16="http://schemas.microsoft.com/office/drawing/2014/main" id="{A46930B0-C57F-491F-95D6-52678B1AD4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8377" y="2728020"/>
                <a:ext cx="3374487" cy="58185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Text Box 70">
                <a:extLst>
                  <a:ext uri="{FF2B5EF4-FFF2-40B4-BE49-F238E27FC236}">
                    <a16:creationId xmlns:a16="http://schemas.microsoft.com/office/drawing/2014/main" id="{CC4A3190-0442-41AD-9207-1467314C466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63289" y="2819811"/>
                <a:ext cx="3369575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dirty="0" err="1"/>
                  <a:t>DiagramSymbol</a:t>
                </a:r>
                <a:endParaRPr lang="en-US" altLang="de-DE" dirty="0"/>
              </a:p>
            </p:txBody>
          </p:sp>
        </p:grp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CE05EFA1-AAD3-44B4-A7BE-F0CDBB1D8D66}"/>
                </a:ext>
              </a:extLst>
            </p:cNvPr>
            <p:cNvGrpSpPr/>
            <p:nvPr/>
          </p:nvGrpSpPr>
          <p:grpSpPr>
            <a:xfrm>
              <a:off x="4418808" y="2050969"/>
              <a:ext cx="3354384" cy="1496681"/>
              <a:chOff x="4544977" y="2050969"/>
              <a:chExt cx="3354384" cy="1496681"/>
            </a:xfrm>
          </p:grpSpPr>
          <p:grpSp>
            <p:nvGrpSpPr>
              <p:cNvPr id="48" name="Gruppieren 47">
                <a:extLst>
                  <a:ext uri="{FF2B5EF4-FFF2-40B4-BE49-F238E27FC236}">
                    <a16:creationId xmlns:a16="http://schemas.microsoft.com/office/drawing/2014/main" id="{C5EDF9C1-1075-4705-A595-33BDC377C99E}"/>
                  </a:ext>
                </a:extLst>
              </p:cNvPr>
              <p:cNvGrpSpPr/>
              <p:nvPr/>
            </p:nvGrpSpPr>
            <p:grpSpPr>
              <a:xfrm>
                <a:off x="4544977" y="2965797"/>
                <a:ext cx="3354384" cy="581853"/>
                <a:chOff x="1256642" y="2717104"/>
                <a:chExt cx="3354384" cy="581853"/>
              </a:xfrm>
            </p:grpSpPr>
            <p:sp>
              <p:nvSpPr>
                <p:cNvPr id="49" name="Rectangle 69">
                  <a:extLst>
                    <a:ext uri="{FF2B5EF4-FFF2-40B4-BE49-F238E27FC236}">
                      <a16:creationId xmlns:a16="http://schemas.microsoft.com/office/drawing/2014/main" id="{6C61F1A6-ED74-4668-89CC-E9474E4914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56642" y="2717104"/>
                  <a:ext cx="3354384" cy="581853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Text Box 70">
                  <a:extLst>
                    <a:ext uri="{FF2B5EF4-FFF2-40B4-BE49-F238E27FC236}">
                      <a16:creationId xmlns:a16="http://schemas.microsoft.com/office/drawing/2014/main" id="{7BAB0EC7-6F73-4A63-A432-77A6BF74C058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261553" y="2808895"/>
                  <a:ext cx="3349473" cy="36933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eaLnBrk="0" hangingPunct="0"/>
                  <a:r>
                    <a:rPr lang="en-US" altLang="de-DE" dirty="0"/>
                    <a:t>OD4ReportArtifactScope</a:t>
                  </a:r>
                </a:p>
              </p:txBody>
            </p:sp>
          </p:grpSp>
          <p:grpSp>
            <p:nvGrpSpPr>
              <p:cNvPr id="51" name="Gruppieren 50">
                <a:extLst>
                  <a:ext uri="{FF2B5EF4-FFF2-40B4-BE49-F238E27FC236}">
                    <a16:creationId xmlns:a16="http://schemas.microsoft.com/office/drawing/2014/main" id="{5824B08A-2704-404D-B4C5-C4031BF4AC35}"/>
                  </a:ext>
                </a:extLst>
              </p:cNvPr>
              <p:cNvGrpSpPr/>
              <p:nvPr/>
            </p:nvGrpSpPr>
            <p:grpSpPr>
              <a:xfrm>
                <a:off x="4544977" y="2050969"/>
                <a:ext cx="3354384" cy="581853"/>
                <a:chOff x="3663939" y="992391"/>
                <a:chExt cx="2844530" cy="581853"/>
              </a:xfrm>
            </p:grpSpPr>
            <p:sp>
              <p:nvSpPr>
                <p:cNvPr id="52" name="Rectangle 69">
                  <a:extLst>
                    <a:ext uri="{FF2B5EF4-FFF2-40B4-BE49-F238E27FC236}">
                      <a16:creationId xmlns:a16="http://schemas.microsoft.com/office/drawing/2014/main" id="{83DB5A03-59F8-4E03-AB60-81ECDFE86F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939" y="992391"/>
                  <a:ext cx="2844530" cy="581853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3" name="Text Box 70">
                  <a:extLst>
                    <a:ext uri="{FF2B5EF4-FFF2-40B4-BE49-F238E27FC236}">
                      <a16:creationId xmlns:a16="http://schemas.microsoft.com/office/drawing/2014/main" id="{5F7C1F53-D69B-4D45-A507-5F090E7EFF6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668850" y="1084182"/>
                  <a:ext cx="2839619" cy="36933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eaLnBrk="0" hangingPunct="0"/>
                  <a:r>
                    <a:rPr lang="en-US" altLang="de-DE" dirty="0"/>
                    <a:t>OD4ReportGlobalScope</a:t>
                  </a:r>
                </a:p>
              </p:txBody>
            </p:sp>
          </p:grpSp>
          <p:sp>
            <p:nvSpPr>
              <p:cNvPr id="54" name="Line 1121">
                <a:extLst>
                  <a:ext uri="{FF2B5EF4-FFF2-40B4-BE49-F238E27FC236}">
                    <a16:creationId xmlns:a16="http://schemas.microsoft.com/office/drawing/2014/main" id="{263D774D-11E1-4EEF-A950-18A823EA9E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95551" y="2639435"/>
                <a:ext cx="0" cy="32636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anchor="ctr"/>
              <a:lstStyle/>
              <a:p>
                <a:endParaRPr lang="de-DE"/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72989502-4A62-49D2-9DD6-79EA0B328D47}"/>
                  </a:ext>
                </a:extLst>
              </p:cNvPr>
              <p:cNvSpPr txBox="1"/>
              <p:nvPr/>
            </p:nvSpPr>
            <p:spPr>
              <a:xfrm>
                <a:off x="5941967" y="2723848"/>
                <a:ext cx="240191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300" dirty="0"/>
                  <a:t>*</a:t>
                </a:r>
              </a:p>
            </p:txBody>
          </p:sp>
        </p:grpSp>
        <p:grpSp>
          <p:nvGrpSpPr>
            <p:cNvPr id="59" name="Group 88">
              <a:extLst>
                <a:ext uri="{FF2B5EF4-FFF2-40B4-BE49-F238E27FC236}">
                  <a16:creationId xmlns:a16="http://schemas.microsoft.com/office/drawing/2014/main" id="{C6ED4CFE-AD17-48F0-9CF4-23B9A23AEE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523062" y="4038959"/>
              <a:ext cx="2548079" cy="583454"/>
              <a:chOff x="2401" y="2572"/>
              <a:chExt cx="1791" cy="1102"/>
            </a:xfrm>
          </p:grpSpPr>
          <p:sp>
            <p:nvSpPr>
              <p:cNvPr id="60" name="Text Box 89">
                <a:extLst>
                  <a:ext uri="{FF2B5EF4-FFF2-40B4-BE49-F238E27FC236}">
                    <a16:creationId xmlns:a16="http://schemas.microsoft.com/office/drawing/2014/main" id="{01A67F4D-0C47-47AA-B7A5-0AC897BEEC5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06" y="2754"/>
                <a:ext cx="1786" cy="6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dirty="0" err="1"/>
                  <a:t>VariableSymbol</a:t>
                </a:r>
                <a:endParaRPr lang="en-US" altLang="de-DE" dirty="0"/>
              </a:p>
            </p:txBody>
          </p:sp>
          <p:sp>
            <p:nvSpPr>
              <p:cNvPr id="61" name="Rectangle 91">
                <a:extLst>
                  <a:ext uri="{FF2B5EF4-FFF2-40B4-BE49-F238E27FC236}">
                    <a16:creationId xmlns:a16="http://schemas.microsoft.com/office/drawing/2014/main" id="{3FF5A70E-5CF3-42AD-9750-081C1786A2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1" y="2572"/>
                <a:ext cx="1791" cy="1102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cxnSp>
          <p:nvCxnSpPr>
            <p:cNvPr id="71" name="Verbinder: gewinkelt 70">
              <a:extLst>
                <a:ext uri="{FF2B5EF4-FFF2-40B4-BE49-F238E27FC236}">
                  <a16:creationId xmlns:a16="http://schemas.microsoft.com/office/drawing/2014/main" id="{8C0E3A50-8C92-45F7-B221-D042ADD7CE89}"/>
                </a:ext>
              </a:extLst>
            </p:cNvPr>
            <p:cNvCxnSpPr>
              <a:stCxn id="49" idx="2"/>
              <a:endCxn id="38" idx="0"/>
            </p:cNvCxnSpPr>
            <p:nvPr/>
          </p:nvCxnSpPr>
          <p:spPr>
            <a:xfrm rot="5400000">
              <a:off x="4994810" y="2941350"/>
              <a:ext cx="494890" cy="1707490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Verbinder: gewinkelt 72">
              <a:extLst>
                <a:ext uri="{FF2B5EF4-FFF2-40B4-BE49-F238E27FC236}">
                  <a16:creationId xmlns:a16="http://schemas.microsoft.com/office/drawing/2014/main" id="{E621CB5F-6C7A-46C6-8484-D9CD95E1A46B}"/>
                </a:ext>
              </a:extLst>
            </p:cNvPr>
            <p:cNvCxnSpPr>
              <a:stCxn id="49" idx="2"/>
              <a:endCxn id="61" idx="0"/>
            </p:cNvCxnSpPr>
            <p:nvPr/>
          </p:nvCxnSpPr>
          <p:spPr>
            <a:xfrm rot="16200000" flipH="1">
              <a:off x="6700897" y="2942753"/>
              <a:ext cx="491309" cy="1701102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DAE2F0EB-84AC-4547-B4DB-259A1A798F0B}"/>
                </a:ext>
              </a:extLst>
            </p:cNvPr>
            <p:cNvSpPr txBox="1"/>
            <p:nvPr/>
          </p:nvSpPr>
          <p:spPr>
            <a:xfrm>
              <a:off x="7804721" y="3749026"/>
              <a:ext cx="24019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300" dirty="0"/>
                <a:t>*</a:t>
              </a: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5966B373-FD08-4F78-9065-417DA671E580}"/>
                </a:ext>
              </a:extLst>
            </p:cNvPr>
            <p:cNvSpPr txBox="1"/>
            <p:nvPr/>
          </p:nvSpPr>
          <p:spPr>
            <a:xfrm>
              <a:off x="4148319" y="3751887"/>
              <a:ext cx="24019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3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7783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612F638-4DFB-48D2-B675-9DCBDAB9FE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612F638-4DFB-48D2-B675-9DCBDAB9F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AB7D1B3-B0E9-409B-BF59-65D96F27DF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5A8F71-C043-484D-949E-954BB8909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gure 2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0FA14302-FA70-494D-89CF-518397E7D8D1}"/>
              </a:ext>
            </a:extLst>
          </p:cNvPr>
          <p:cNvGrpSpPr/>
          <p:nvPr/>
        </p:nvGrpSpPr>
        <p:grpSpPr>
          <a:xfrm>
            <a:off x="2938462" y="1219200"/>
            <a:ext cx="6315075" cy="4152900"/>
            <a:chOff x="2938462" y="1219200"/>
            <a:chExt cx="6315075" cy="415290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1BF1F23-E2EF-4858-874C-1E7362F42FC9}"/>
                </a:ext>
              </a:extLst>
            </p:cNvPr>
            <p:cNvSpPr/>
            <p:nvPr/>
          </p:nvSpPr>
          <p:spPr>
            <a:xfrm>
              <a:off x="2938462" y="1219200"/>
              <a:ext cx="6315075" cy="4152900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grpSp>
          <p:nvGrpSpPr>
            <p:cNvPr id="28" name="Group 1081">
              <a:extLst>
                <a:ext uri="{FF2B5EF4-FFF2-40B4-BE49-F238E27FC236}">
                  <a16:creationId xmlns:a16="http://schemas.microsoft.com/office/drawing/2014/main" id="{F590EF28-3F48-4657-A798-CA796A4BD5E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77197" y="1549146"/>
              <a:ext cx="2671625" cy="380632"/>
              <a:chOff x="3715" y="3216"/>
              <a:chExt cx="1178" cy="271"/>
            </a:xfrm>
          </p:grpSpPr>
          <p:sp>
            <p:nvSpPr>
              <p:cNvPr id="29" name="Rectangle 1082">
                <a:extLst>
                  <a:ext uri="{FF2B5EF4-FFF2-40B4-BE49-F238E27FC236}">
                    <a16:creationId xmlns:a16="http://schemas.microsoft.com/office/drawing/2014/main" id="{B33117EA-7BB3-4198-B57E-CA56075C5A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5" y="3216"/>
                <a:ext cx="1178" cy="27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Text Box 1083">
                <a:extLst>
                  <a:ext uri="{FF2B5EF4-FFF2-40B4-BE49-F238E27FC236}">
                    <a16:creationId xmlns:a16="http://schemas.microsoft.com/office/drawing/2014/main" id="{B953D8CF-C985-4F42-B588-E7AB5FC94A9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811" y="3254"/>
                <a:ext cx="973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OD4ReportArtifactScope</a:t>
                </a:r>
              </a:p>
            </p:txBody>
          </p:sp>
        </p:grp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DD5E5E62-FBA0-4976-AA8A-18F3FE6D1EB0}"/>
                </a:ext>
              </a:extLst>
            </p:cNvPr>
            <p:cNvGrpSpPr/>
            <p:nvPr/>
          </p:nvGrpSpPr>
          <p:grpSpPr>
            <a:xfrm>
              <a:off x="3170757" y="2203232"/>
              <a:ext cx="5850487" cy="3005416"/>
              <a:chOff x="3156850" y="2203232"/>
              <a:chExt cx="5850487" cy="3005416"/>
            </a:xfrm>
          </p:grpSpPr>
          <p:sp>
            <p:nvSpPr>
              <p:cNvPr id="31" name="Rectangle 1082">
                <a:extLst>
                  <a:ext uri="{FF2B5EF4-FFF2-40B4-BE49-F238E27FC236}">
                    <a16:creationId xmlns:a16="http://schemas.microsoft.com/office/drawing/2014/main" id="{7536B57F-766E-49BB-B2CD-F8FC0D7CF7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2203232"/>
                <a:ext cx="2439506" cy="7416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Text Box 1083">
                <a:extLst>
                  <a:ext uri="{FF2B5EF4-FFF2-40B4-BE49-F238E27FC236}">
                    <a16:creationId xmlns:a16="http://schemas.microsoft.com/office/drawing/2014/main" id="{932EC6FD-AD09-4F00-8F45-793699FC8A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84127" y="2256605"/>
                <a:ext cx="2428751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</a:t>
                </a:r>
                <a:r>
                  <a:rPr lang="en-US" altLang="de-DE" sz="1400" u="sng" dirty="0" err="1"/>
                  <a:t>DiagramSymbol</a:t>
                </a:r>
                <a:endParaRPr lang="en-US" altLang="de-DE" sz="1400" u="sng" dirty="0"/>
              </a:p>
            </p:txBody>
          </p:sp>
          <p:sp>
            <p:nvSpPr>
              <p:cNvPr id="33" name="Rectangle 1084">
                <a:extLst>
                  <a:ext uri="{FF2B5EF4-FFF2-40B4-BE49-F238E27FC236}">
                    <a16:creationId xmlns:a16="http://schemas.microsoft.com/office/drawing/2014/main" id="{B76CDB6C-CA73-4F7E-A9E6-CB7E0A28CE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2607741"/>
                <a:ext cx="2439506" cy="33709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Text Box 1085">
                <a:extLst>
                  <a:ext uri="{FF2B5EF4-FFF2-40B4-BE49-F238E27FC236}">
                    <a16:creationId xmlns:a16="http://schemas.microsoft.com/office/drawing/2014/main" id="{8A5BD62C-1A6C-4597-BCCA-3297FB31CD2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56850" y="2607741"/>
                <a:ext cx="1883185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 err="1"/>
                  <a:t>name</a:t>
                </a:r>
                <a:r>
                  <a:rPr lang="de-DE" sz="1400" dirty="0"/>
                  <a:t> = "</a:t>
                </a:r>
                <a:r>
                  <a:rPr lang="de-DE" sz="1400" dirty="0" err="1"/>
                  <a:t>MyFamily</a:t>
                </a:r>
                <a:r>
                  <a:rPr lang="de-DE" sz="1400" dirty="0"/>
                  <a:t>"</a:t>
                </a:r>
              </a:p>
            </p:txBody>
          </p:sp>
          <p:sp>
            <p:nvSpPr>
              <p:cNvPr id="35" name="Rectangle 1082">
                <a:extLst>
                  <a:ext uri="{FF2B5EF4-FFF2-40B4-BE49-F238E27FC236}">
                    <a16:creationId xmlns:a16="http://schemas.microsoft.com/office/drawing/2014/main" id="{D38308D1-E0E3-445E-B7A9-AD2C3BD3A9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3105470"/>
                <a:ext cx="2439506" cy="97127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Text Box 1083">
                <a:extLst>
                  <a:ext uri="{FF2B5EF4-FFF2-40B4-BE49-F238E27FC236}">
                    <a16:creationId xmlns:a16="http://schemas.microsoft.com/office/drawing/2014/main" id="{8FCC5539-9337-43C2-ABDC-7EB619CA5B4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84127" y="3158843"/>
                <a:ext cx="2428751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</a:t>
                </a:r>
                <a:r>
                  <a:rPr lang="en-US" altLang="de-DE" sz="1400" u="sng" dirty="0" err="1"/>
                  <a:t>VariableSymbol</a:t>
                </a:r>
                <a:endParaRPr lang="en-US" altLang="de-DE" sz="1400" u="sng" dirty="0"/>
              </a:p>
            </p:txBody>
          </p:sp>
          <p:sp>
            <p:nvSpPr>
              <p:cNvPr id="40" name="Rectangle 1084">
                <a:extLst>
                  <a:ext uri="{FF2B5EF4-FFF2-40B4-BE49-F238E27FC236}">
                    <a16:creationId xmlns:a16="http://schemas.microsoft.com/office/drawing/2014/main" id="{C5007B03-9E1E-474C-A9D5-E13FE3AE2E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3509979"/>
                <a:ext cx="2439506" cy="56676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Text Box 1085">
                <a:extLst>
                  <a:ext uri="{FF2B5EF4-FFF2-40B4-BE49-F238E27FC236}">
                    <a16:creationId xmlns:a16="http://schemas.microsoft.com/office/drawing/2014/main" id="{643C8D42-0BE3-4286-87B2-4CBD6D145EB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56850" y="3509979"/>
                <a:ext cx="1883185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 err="1"/>
                  <a:t>name</a:t>
                </a:r>
                <a:r>
                  <a:rPr lang="de-DE" sz="1400" dirty="0"/>
                  <a:t> = "</a:t>
                </a:r>
                <a:r>
                  <a:rPr lang="de-DE" sz="1400" dirty="0" err="1"/>
                  <a:t>alice</a:t>
                </a:r>
                <a:r>
                  <a:rPr lang="de-DE" sz="1400" dirty="0"/>
                  <a:t>"</a:t>
                </a:r>
              </a:p>
              <a:p>
                <a:r>
                  <a:rPr lang="de-DE" sz="1400" dirty="0"/>
                  <a:t>type = Person</a:t>
                </a:r>
              </a:p>
            </p:txBody>
          </p:sp>
          <p:sp>
            <p:nvSpPr>
              <p:cNvPr id="42" name="Rectangle 1082">
                <a:extLst>
                  <a:ext uri="{FF2B5EF4-FFF2-40B4-BE49-F238E27FC236}">
                    <a16:creationId xmlns:a16="http://schemas.microsoft.com/office/drawing/2014/main" id="{5BB3DA07-7AAF-44DF-A2D8-8A95AAB75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4237378"/>
                <a:ext cx="2439506" cy="97127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Text Box 1083">
                <a:extLst>
                  <a:ext uri="{FF2B5EF4-FFF2-40B4-BE49-F238E27FC236}">
                    <a16:creationId xmlns:a16="http://schemas.microsoft.com/office/drawing/2014/main" id="{4D806550-FA9C-4C5B-8947-CC02031F73C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84127" y="4290751"/>
                <a:ext cx="2428751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</a:t>
                </a:r>
                <a:r>
                  <a:rPr lang="en-US" altLang="de-DE" sz="1400" u="sng" dirty="0" err="1"/>
                  <a:t>VariableSymbol</a:t>
                </a:r>
                <a:endParaRPr lang="en-US" altLang="de-DE" sz="1400" u="sng" dirty="0"/>
              </a:p>
            </p:txBody>
          </p:sp>
          <p:sp>
            <p:nvSpPr>
              <p:cNvPr id="44" name="Rectangle 1084">
                <a:extLst>
                  <a:ext uri="{FF2B5EF4-FFF2-40B4-BE49-F238E27FC236}">
                    <a16:creationId xmlns:a16="http://schemas.microsoft.com/office/drawing/2014/main" id="{5FEE12E5-2080-4247-804F-D905B63600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4641887"/>
                <a:ext cx="2439506" cy="56676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5" name="Text Box 1085">
                <a:extLst>
                  <a:ext uri="{FF2B5EF4-FFF2-40B4-BE49-F238E27FC236}">
                    <a16:creationId xmlns:a16="http://schemas.microsoft.com/office/drawing/2014/main" id="{60F521F3-82CF-4016-8E44-9C47B46A86F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56850" y="4641887"/>
                <a:ext cx="1883185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 err="1"/>
                  <a:t>name</a:t>
                </a:r>
                <a:r>
                  <a:rPr lang="de-DE" sz="1400" dirty="0"/>
                  <a:t> = "</a:t>
                </a:r>
                <a:r>
                  <a:rPr lang="de-DE" sz="1400" dirty="0" err="1"/>
                  <a:t>bob</a:t>
                </a:r>
                <a:r>
                  <a:rPr lang="de-DE" sz="1400" dirty="0"/>
                  <a:t>"</a:t>
                </a:r>
              </a:p>
              <a:p>
                <a:r>
                  <a:rPr lang="de-DE" sz="1400" dirty="0"/>
                  <a:t>type = Person</a:t>
                </a:r>
              </a:p>
            </p:txBody>
          </p:sp>
          <p:sp>
            <p:nvSpPr>
              <p:cNvPr id="83" name="Rectangle 1082">
                <a:extLst>
                  <a:ext uri="{FF2B5EF4-FFF2-40B4-BE49-F238E27FC236}">
                    <a16:creationId xmlns:a16="http://schemas.microsoft.com/office/drawing/2014/main" id="{9A69C159-F9FF-4FEE-AB0F-8071EB60CB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7831" y="3105470"/>
                <a:ext cx="2439506" cy="97127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" name="Text Box 1083">
                <a:extLst>
                  <a:ext uri="{FF2B5EF4-FFF2-40B4-BE49-F238E27FC236}">
                    <a16:creationId xmlns:a16="http://schemas.microsoft.com/office/drawing/2014/main" id="{C15D8A41-C243-4E27-B084-665715FC9D0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67293" y="3158843"/>
                <a:ext cx="2428751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</a:t>
                </a:r>
                <a:r>
                  <a:rPr lang="en-US" altLang="de-DE" sz="1400" u="sng" dirty="0" err="1"/>
                  <a:t>VariableSymbol</a:t>
                </a:r>
                <a:endParaRPr lang="en-US" altLang="de-DE" sz="1400" u="sng" dirty="0"/>
              </a:p>
            </p:txBody>
          </p:sp>
          <p:sp>
            <p:nvSpPr>
              <p:cNvPr id="85" name="Rectangle 1084">
                <a:extLst>
                  <a:ext uri="{FF2B5EF4-FFF2-40B4-BE49-F238E27FC236}">
                    <a16:creationId xmlns:a16="http://schemas.microsoft.com/office/drawing/2014/main" id="{1D2D175E-52EE-4445-97D3-24BA83097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7831" y="3509979"/>
                <a:ext cx="2439506" cy="56676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6" name="Text Box 1085">
                <a:extLst>
                  <a:ext uri="{FF2B5EF4-FFF2-40B4-BE49-F238E27FC236}">
                    <a16:creationId xmlns:a16="http://schemas.microsoft.com/office/drawing/2014/main" id="{96CC4EDA-4440-4E49-888F-F5A25B262C0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40016" y="3509979"/>
                <a:ext cx="1883185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 err="1"/>
                  <a:t>name</a:t>
                </a:r>
                <a:r>
                  <a:rPr lang="de-DE" sz="1400" dirty="0"/>
                  <a:t> = "</a:t>
                </a:r>
                <a:r>
                  <a:rPr lang="de-DE" sz="1400" dirty="0" err="1"/>
                  <a:t>tiger</a:t>
                </a:r>
                <a:r>
                  <a:rPr lang="de-DE" sz="1400" dirty="0"/>
                  <a:t>"</a:t>
                </a:r>
              </a:p>
              <a:p>
                <a:r>
                  <a:rPr lang="de-DE" sz="1400" dirty="0"/>
                  <a:t>type = Jaguar</a:t>
                </a:r>
              </a:p>
            </p:txBody>
          </p:sp>
        </p:grp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D088A60B-A541-42DB-80A5-A7CE026E7A97}"/>
                </a:ext>
              </a:extLst>
            </p:cNvPr>
            <p:cNvCxnSpPr>
              <a:cxnSpLocks/>
            </p:cNvCxnSpPr>
            <p:nvPr/>
          </p:nvCxnSpPr>
          <p:spPr>
            <a:xfrm>
              <a:off x="5890760" y="1929778"/>
              <a:ext cx="0" cy="67796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mit Pfeil 8">
              <a:extLst>
                <a:ext uri="{FF2B5EF4-FFF2-40B4-BE49-F238E27FC236}">
                  <a16:creationId xmlns:a16="http://schemas.microsoft.com/office/drawing/2014/main" id="{08CB8721-1200-41FA-B8CE-80F5017BB8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8078" y="2607741"/>
              <a:ext cx="252682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B80C1C3A-E32E-4FCF-9F44-60B2EC2A193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82883" y="1932953"/>
              <a:ext cx="9477" cy="157702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313BDF16-9B94-4D5C-9D5E-F5199021FF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86687" y="1929778"/>
              <a:ext cx="4522" cy="2712109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mit Pfeil 88">
              <a:extLst>
                <a:ext uri="{FF2B5EF4-FFF2-40B4-BE49-F238E27FC236}">
                  <a16:creationId xmlns:a16="http://schemas.microsoft.com/office/drawing/2014/main" id="{7EAC4A97-556F-457E-B385-B63EDF7556A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4094" y="3509979"/>
              <a:ext cx="348789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mit Pfeil 89">
              <a:extLst>
                <a:ext uri="{FF2B5EF4-FFF2-40B4-BE49-F238E27FC236}">
                  <a16:creationId xmlns:a16="http://schemas.microsoft.com/office/drawing/2014/main" id="{523FD5C8-4950-404E-95C4-AF534F0C2E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4094" y="4641887"/>
              <a:ext cx="452593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5797C420-B52F-4139-B6FE-95957AA47DEC}"/>
                </a:ext>
              </a:extLst>
            </p:cNvPr>
            <p:cNvCxnSpPr>
              <a:cxnSpLocks/>
            </p:cNvCxnSpPr>
            <p:nvPr/>
          </p:nvCxnSpPr>
          <p:spPr>
            <a:xfrm>
              <a:off x="6196749" y="1929778"/>
              <a:ext cx="8345" cy="158020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mit Pfeil 21">
              <a:extLst>
                <a:ext uri="{FF2B5EF4-FFF2-40B4-BE49-F238E27FC236}">
                  <a16:creationId xmlns:a16="http://schemas.microsoft.com/office/drawing/2014/main" id="{E0166F19-20CA-43E4-8D4A-CB88A8959EA2}"/>
                </a:ext>
              </a:extLst>
            </p:cNvPr>
            <p:cNvCxnSpPr/>
            <p:nvPr/>
          </p:nvCxnSpPr>
          <p:spPr>
            <a:xfrm>
              <a:off x="6205094" y="3509979"/>
              <a:ext cx="376106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AutoShape 40">
              <a:extLst>
                <a:ext uri="{FF2B5EF4-FFF2-40B4-BE49-F238E27FC236}">
                  <a16:creationId xmlns:a16="http://schemas.microsoft.com/office/drawing/2014/main" id="{3022E25F-7BC5-4C14-9FCC-556846A88BB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8467929" y="1347951"/>
              <a:ext cx="609600" cy="304800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600" dirty="0"/>
                <a:t>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4038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cQIQU332VoRdtuTa3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XMQSGsfS8rqkyanbkp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XMQSGsfS8rqkyanbkpqA"/>
</p:tagLst>
</file>

<file path=ppt/theme/theme1.xml><?xml version="1.0" encoding="utf-8"?>
<a:theme xmlns:a="http://schemas.openxmlformats.org/drawingml/2006/main" name="DesignSE">
  <a:themeElements>
    <a:clrScheme name="Editirmodus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339933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  <a:headEnd type="none" w="med" len="med"/>
          <a:tailEnd type="arrow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ditir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339933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  <a:extraClrScheme>
      <a:clrScheme name="Anzeige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C0C0C0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  <a:extraClrScheme>
      <a:clrScheme name="Druck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FFFFFF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</a:extraClrSchemeLst>
  <a:extLst>
    <a:ext uri="{05A4C25C-085E-4340-85A3-A5531E510DB2}">
      <thm15:themeFamily xmlns:thm15="http://schemas.microsoft.com/office/thememl/2012/main" name="DesignSE" id="{EAFC8903-E4B1-467C-960D-91660CE78A0A}" vid="{99D41127-BE3F-4F81-BB33-06BFE3C9306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7</Words>
  <Application>Microsoft Office PowerPoint</Application>
  <PresentationFormat>Breitbild</PresentationFormat>
  <Paragraphs>121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Calibri</vt:lpstr>
      <vt:lpstr>Symbol</vt:lpstr>
      <vt:lpstr>Wingdings</vt:lpstr>
      <vt:lpstr>DesignSE</vt:lpstr>
      <vt:lpstr>think-cell Folie</vt:lpstr>
      <vt:lpstr>Flags und Abkürzungen für Diagrammtypen</vt:lpstr>
      <vt:lpstr>Objektdiagramm</vt:lpstr>
      <vt:lpstr>Objektdiagramm - Beispiel</vt:lpstr>
      <vt:lpstr>Figure 1</vt:lpstr>
      <vt:lpstr>Figure 2</vt:lpstr>
      <vt:lpstr>Figure 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ndows-Benutzer</dc:creator>
  <cp:lastModifiedBy>Steffen Hillemacher</cp:lastModifiedBy>
  <cp:revision>231</cp:revision>
  <cp:lastPrinted>2019-08-05T09:20:27Z</cp:lastPrinted>
  <dcterms:created xsi:type="dcterms:W3CDTF">2019-02-06T21:20:56Z</dcterms:created>
  <dcterms:modified xsi:type="dcterms:W3CDTF">2020-10-30T13:37:44Z</dcterms:modified>
</cp:coreProperties>
</file>